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5" r:id="rId5"/>
  </p:sldMasterIdLst>
  <p:notesMasterIdLst>
    <p:notesMasterId r:id="rId22"/>
  </p:notesMasterIdLst>
  <p:sldIdLst>
    <p:sldId id="256" r:id="rId6"/>
    <p:sldId id="271" r:id="rId7"/>
    <p:sldId id="391" r:id="rId8"/>
    <p:sldId id="829" r:id="rId9"/>
    <p:sldId id="270" r:id="rId10"/>
    <p:sldId id="302" r:id="rId11"/>
    <p:sldId id="263" r:id="rId12"/>
    <p:sldId id="264" r:id="rId13"/>
    <p:sldId id="840" r:id="rId14"/>
    <p:sldId id="2052" r:id="rId15"/>
    <p:sldId id="2039" r:id="rId16"/>
    <p:sldId id="2056" r:id="rId17"/>
    <p:sldId id="2053" r:id="rId18"/>
    <p:sldId id="2054" r:id="rId19"/>
    <p:sldId id="2055" r:id="rId20"/>
    <p:sldId id="834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B3D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DCBFEEC-6C58-492C-91B5-A4D1ED5AA803}" v="152" dt="2021-07-12T12:23:55.28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06" autoAdjust="0"/>
    <p:restoredTop sz="78491" autoAdjust="0"/>
  </p:normalViewPr>
  <p:slideViewPr>
    <p:cSldViewPr snapToGrid="0">
      <p:cViewPr varScale="1">
        <p:scale>
          <a:sx n="86" d="100"/>
          <a:sy n="86" d="100"/>
        </p:scale>
        <p:origin x="29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rney, Dale C. (LARC-E402)" userId="976f669d-712a-4a9a-aa4a-4ae99a7806d0" providerId="ADAL" clId="{E660630E-4995-45C2-AFF3-5A65AAC8FD5B}"/>
    <pc:docChg chg="undo custSel addSld delSld modSld sldOrd delMainMaster">
      <pc:chgData name="Arney, Dale C. (LARC-E402)" userId="976f669d-712a-4a9a-aa4a-4ae99a7806d0" providerId="ADAL" clId="{E660630E-4995-45C2-AFF3-5A65AAC8FD5B}" dt="2021-07-07T19:17:24.633" v="1626" actId="1076"/>
      <pc:docMkLst>
        <pc:docMk/>
      </pc:docMkLst>
      <pc:sldChg chg="modSp">
        <pc:chgData name="Arney, Dale C. (LARC-E402)" userId="976f669d-712a-4a9a-aa4a-4ae99a7806d0" providerId="ADAL" clId="{E660630E-4995-45C2-AFF3-5A65AAC8FD5B}" dt="2021-07-07T13:26:02.991" v="81" actId="20577"/>
        <pc:sldMkLst>
          <pc:docMk/>
          <pc:sldMk cId="2807910172" sldId="256"/>
        </pc:sldMkLst>
        <pc:spChg chg="mod">
          <ac:chgData name="Arney, Dale C. (LARC-E402)" userId="976f669d-712a-4a9a-aa4a-4ae99a7806d0" providerId="ADAL" clId="{E660630E-4995-45C2-AFF3-5A65AAC8FD5B}" dt="2021-07-07T13:26:02.991" v="81" actId="20577"/>
          <ac:spMkLst>
            <pc:docMk/>
            <pc:sldMk cId="2807910172" sldId="256"/>
            <ac:spMk id="2" creationId="{19DFCC6D-E513-430C-BBD8-80DF683E834A}"/>
          </ac:spMkLst>
        </pc:spChg>
        <pc:spChg chg="mod">
          <ac:chgData name="Arney, Dale C. (LARC-E402)" userId="976f669d-712a-4a9a-aa4a-4ae99a7806d0" providerId="ADAL" clId="{E660630E-4995-45C2-AFF3-5A65AAC8FD5B}" dt="2021-07-07T13:25:58.853" v="72" actId="14100"/>
          <ac:spMkLst>
            <pc:docMk/>
            <pc:sldMk cId="2807910172" sldId="256"/>
            <ac:spMk id="3" creationId="{294B2034-153E-4C9F-B8D1-9A9F2DF78D87}"/>
          </ac:spMkLst>
        </pc:spChg>
      </pc:sldChg>
      <pc:sldChg chg="add del">
        <pc:chgData name="Arney, Dale C. (LARC-E402)" userId="976f669d-712a-4a9a-aa4a-4ae99a7806d0" providerId="ADAL" clId="{E660630E-4995-45C2-AFF3-5A65AAC8FD5B}" dt="2021-07-07T17:43:37.553" v="1214" actId="2696"/>
        <pc:sldMkLst>
          <pc:docMk/>
          <pc:sldMk cId="2693235975" sldId="260"/>
        </pc:sldMkLst>
      </pc:sldChg>
      <pc:sldChg chg="add del">
        <pc:chgData name="Arney, Dale C. (LARC-E402)" userId="976f669d-712a-4a9a-aa4a-4ae99a7806d0" providerId="ADAL" clId="{E660630E-4995-45C2-AFF3-5A65AAC8FD5B}" dt="2021-07-07T17:39:14.254" v="1151" actId="2696"/>
        <pc:sldMkLst>
          <pc:docMk/>
          <pc:sldMk cId="3538783777" sldId="261"/>
        </pc:sldMkLst>
      </pc:sldChg>
      <pc:sldChg chg="add del">
        <pc:chgData name="Arney, Dale C. (LARC-E402)" userId="976f669d-712a-4a9a-aa4a-4ae99a7806d0" providerId="ADAL" clId="{E660630E-4995-45C2-AFF3-5A65AAC8FD5B}" dt="2021-07-07T17:39:08.148" v="1150" actId="2696"/>
        <pc:sldMkLst>
          <pc:docMk/>
          <pc:sldMk cId="2354691751" sldId="262"/>
        </pc:sldMkLst>
      </pc:sldChg>
      <pc:sldChg chg="addSp delSp modSp ord modNotesTx">
        <pc:chgData name="Arney, Dale C. (LARC-E402)" userId="976f669d-712a-4a9a-aa4a-4ae99a7806d0" providerId="ADAL" clId="{E660630E-4995-45C2-AFF3-5A65AAC8FD5B}" dt="2021-07-07T17:43:32.720" v="1213" actId="20577"/>
        <pc:sldMkLst>
          <pc:docMk/>
          <pc:sldMk cId="3210463797" sldId="263"/>
        </pc:sldMkLst>
        <pc:spChg chg="mod">
          <ac:chgData name="Arney, Dale C. (LARC-E402)" userId="976f669d-712a-4a9a-aa4a-4ae99a7806d0" providerId="ADAL" clId="{E660630E-4995-45C2-AFF3-5A65AAC8FD5B}" dt="2021-07-07T13:31:09.296" v="101" actId="2711"/>
          <ac:spMkLst>
            <pc:docMk/>
            <pc:sldMk cId="3210463797" sldId="263"/>
            <ac:spMk id="5" creationId="{154C5B26-1A1E-45F6-BE36-AB99C9407D1B}"/>
          </ac:spMkLst>
        </pc:spChg>
        <pc:spChg chg="add del">
          <ac:chgData name="Arney, Dale C. (LARC-E402)" userId="976f669d-712a-4a9a-aa4a-4ae99a7806d0" providerId="ADAL" clId="{E660630E-4995-45C2-AFF3-5A65AAC8FD5B}" dt="2021-07-07T17:41:57.351" v="1168"/>
          <ac:spMkLst>
            <pc:docMk/>
            <pc:sldMk cId="3210463797" sldId="263"/>
            <ac:spMk id="6" creationId="{A40F0F5A-D3AB-4A60-898D-5ADBE893EF35}"/>
          </ac:spMkLst>
        </pc:spChg>
        <pc:spChg chg="add del mod">
          <ac:chgData name="Arney, Dale C. (LARC-E402)" userId="976f669d-712a-4a9a-aa4a-4ae99a7806d0" providerId="ADAL" clId="{E660630E-4995-45C2-AFF3-5A65AAC8FD5B}" dt="2021-07-07T17:42:21.181" v="1178"/>
          <ac:spMkLst>
            <pc:docMk/>
            <pc:sldMk cId="3210463797" sldId="263"/>
            <ac:spMk id="7" creationId="{FA905950-0661-4B3C-9983-66014595D4D1}"/>
          </ac:spMkLst>
        </pc:spChg>
      </pc:sldChg>
      <pc:sldChg chg="modSp ord">
        <pc:chgData name="Arney, Dale C. (LARC-E402)" userId="976f669d-712a-4a9a-aa4a-4ae99a7806d0" providerId="ADAL" clId="{E660630E-4995-45C2-AFF3-5A65AAC8FD5B}" dt="2021-07-07T13:42:33.529" v="130"/>
        <pc:sldMkLst>
          <pc:docMk/>
          <pc:sldMk cId="193071225" sldId="264"/>
        </pc:sldMkLst>
        <pc:spChg chg="mod">
          <ac:chgData name="Arney, Dale C. (LARC-E402)" userId="976f669d-712a-4a9a-aa4a-4ae99a7806d0" providerId="ADAL" clId="{E660630E-4995-45C2-AFF3-5A65AAC8FD5B}" dt="2021-07-07T13:31:15.657" v="102" actId="2711"/>
          <ac:spMkLst>
            <pc:docMk/>
            <pc:sldMk cId="193071225" sldId="264"/>
            <ac:spMk id="6" creationId="{2B8CD515-4D28-4376-B7B8-756CB8BD694F}"/>
          </ac:spMkLst>
        </pc:spChg>
      </pc:sldChg>
      <pc:sldChg chg="add del">
        <pc:chgData name="Arney, Dale C. (LARC-E402)" userId="976f669d-712a-4a9a-aa4a-4ae99a7806d0" providerId="ADAL" clId="{E660630E-4995-45C2-AFF3-5A65AAC8FD5B}" dt="2021-07-07T17:39:08.141" v="1149" actId="2696"/>
        <pc:sldMkLst>
          <pc:docMk/>
          <pc:sldMk cId="3001028936" sldId="265"/>
        </pc:sldMkLst>
      </pc:sldChg>
      <pc:sldChg chg="add del">
        <pc:chgData name="Arney, Dale C. (LARC-E402)" userId="976f669d-712a-4a9a-aa4a-4ae99a7806d0" providerId="ADAL" clId="{E660630E-4995-45C2-AFF3-5A65AAC8FD5B}" dt="2021-07-07T17:39:25.695" v="1152" actId="2696"/>
        <pc:sldMkLst>
          <pc:docMk/>
          <pc:sldMk cId="2756246246" sldId="266"/>
        </pc:sldMkLst>
      </pc:sldChg>
      <pc:sldChg chg="del ord">
        <pc:chgData name="Arney, Dale C. (LARC-E402)" userId="976f669d-712a-4a9a-aa4a-4ae99a7806d0" providerId="ADAL" clId="{E660630E-4995-45C2-AFF3-5A65AAC8FD5B}" dt="2021-07-07T17:44:03.270" v="1217" actId="2696"/>
        <pc:sldMkLst>
          <pc:docMk/>
          <pc:sldMk cId="2001237762" sldId="269"/>
        </pc:sldMkLst>
      </pc:sldChg>
      <pc:sldChg chg="add">
        <pc:chgData name="Arney, Dale C. (LARC-E402)" userId="976f669d-712a-4a9a-aa4a-4ae99a7806d0" providerId="ADAL" clId="{E660630E-4995-45C2-AFF3-5A65AAC8FD5B}" dt="2021-07-07T13:27:46.674" v="82"/>
        <pc:sldMkLst>
          <pc:docMk/>
          <pc:sldMk cId="2158986341" sldId="270"/>
        </pc:sldMkLst>
      </pc:sldChg>
      <pc:sldChg chg="del">
        <pc:chgData name="Arney, Dale C. (LARC-E402)" userId="976f669d-712a-4a9a-aa4a-4ae99a7806d0" providerId="ADAL" clId="{E660630E-4995-45C2-AFF3-5A65AAC8FD5B}" dt="2021-07-07T13:29:09.612" v="84" actId="2696"/>
        <pc:sldMkLst>
          <pc:docMk/>
          <pc:sldMk cId="858817839" sldId="272"/>
        </pc:sldMkLst>
      </pc:sldChg>
      <pc:sldChg chg="del">
        <pc:chgData name="Arney, Dale C. (LARC-E402)" userId="976f669d-712a-4a9a-aa4a-4ae99a7806d0" providerId="ADAL" clId="{E660630E-4995-45C2-AFF3-5A65AAC8FD5B}" dt="2021-07-07T13:29:30.720" v="97" actId="2696"/>
        <pc:sldMkLst>
          <pc:docMk/>
          <pc:sldMk cId="1440724774" sldId="277"/>
        </pc:sldMkLst>
      </pc:sldChg>
      <pc:sldChg chg="del">
        <pc:chgData name="Arney, Dale C. (LARC-E402)" userId="976f669d-712a-4a9a-aa4a-4ae99a7806d0" providerId="ADAL" clId="{E660630E-4995-45C2-AFF3-5A65AAC8FD5B}" dt="2021-07-07T17:44:03.312" v="1219" actId="2696"/>
        <pc:sldMkLst>
          <pc:docMk/>
          <pc:sldMk cId="3116516034" sldId="285"/>
        </pc:sldMkLst>
      </pc:sldChg>
      <pc:sldChg chg="del ord">
        <pc:chgData name="Arney, Dale C. (LARC-E402)" userId="976f669d-712a-4a9a-aa4a-4ae99a7806d0" providerId="ADAL" clId="{E660630E-4995-45C2-AFF3-5A65AAC8FD5B}" dt="2021-07-07T17:44:03.376" v="1220" actId="2696"/>
        <pc:sldMkLst>
          <pc:docMk/>
          <pc:sldMk cId="2973170238" sldId="377"/>
        </pc:sldMkLst>
      </pc:sldChg>
      <pc:sldChg chg="modSp ord">
        <pc:chgData name="Arney, Dale C. (LARC-E402)" userId="976f669d-712a-4a9a-aa4a-4ae99a7806d0" providerId="ADAL" clId="{E660630E-4995-45C2-AFF3-5A65AAC8FD5B}" dt="2021-07-07T13:33:19.103" v="125" actId="108"/>
        <pc:sldMkLst>
          <pc:docMk/>
          <pc:sldMk cId="1775896203" sldId="391"/>
        </pc:sldMkLst>
        <pc:spChg chg="mod">
          <ac:chgData name="Arney, Dale C. (LARC-E402)" userId="976f669d-712a-4a9a-aa4a-4ae99a7806d0" providerId="ADAL" clId="{E660630E-4995-45C2-AFF3-5A65AAC8FD5B}" dt="2021-07-07T13:33:01.480" v="123" actId="1038"/>
          <ac:spMkLst>
            <pc:docMk/>
            <pc:sldMk cId="1775896203" sldId="391"/>
            <ac:spMk id="149" creationId="{EC9C7509-1C2E-484F-8ACA-638E948C2B1E}"/>
          </ac:spMkLst>
        </pc:spChg>
        <pc:spChg chg="mod">
          <ac:chgData name="Arney, Dale C. (LARC-E402)" userId="976f669d-712a-4a9a-aa4a-4ae99a7806d0" providerId="ADAL" clId="{E660630E-4995-45C2-AFF3-5A65AAC8FD5B}" dt="2021-07-07T13:33:16.091" v="124" actId="108"/>
          <ac:spMkLst>
            <pc:docMk/>
            <pc:sldMk cId="1775896203" sldId="391"/>
            <ac:spMk id="151" creationId="{BA92607F-1BB7-43F4-A68C-10B7AD837987}"/>
          </ac:spMkLst>
        </pc:spChg>
        <pc:spChg chg="mod">
          <ac:chgData name="Arney, Dale C. (LARC-E402)" userId="976f669d-712a-4a9a-aa4a-4ae99a7806d0" providerId="ADAL" clId="{E660630E-4995-45C2-AFF3-5A65AAC8FD5B}" dt="2021-07-07T13:33:19.103" v="125" actId="108"/>
          <ac:spMkLst>
            <pc:docMk/>
            <pc:sldMk cId="1775896203" sldId="391"/>
            <ac:spMk id="153" creationId="{AD53B37C-F76C-408E-BC4E-6588074BC639}"/>
          </ac:spMkLst>
        </pc:spChg>
        <pc:picChg chg="mod">
          <ac:chgData name="Arney, Dale C. (LARC-E402)" userId="976f669d-712a-4a9a-aa4a-4ae99a7806d0" providerId="ADAL" clId="{E660630E-4995-45C2-AFF3-5A65AAC8FD5B}" dt="2021-07-07T13:33:01.480" v="123" actId="1038"/>
          <ac:picMkLst>
            <pc:docMk/>
            <pc:sldMk cId="1775896203" sldId="391"/>
            <ac:picMk id="148" creationId="{6AC2328E-C3DF-455F-B036-805664505E37}"/>
          </ac:picMkLst>
        </pc:picChg>
      </pc:sldChg>
      <pc:sldChg chg="del">
        <pc:chgData name="Arney, Dale C. (LARC-E402)" userId="976f669d-712a-4a9a-aa4a-4ae99a7806d0" providerId="ADAL" clId="{E660630E-4995-45C2-AFF3-5A65AAC8FD5B}" dt="2021-07-07T13:29:30.665" v="86" actId="2696"/>
        <pc:sldMkLst>
          <pc:docMk/>
          <pc:sldMk cId="19764817" sldId="819"/>
        </pc:sldMkLst>
      </pc:sldChg>
      <pc:sldChg chg="modSp ord">
        <pc:chgData name="Arney, Dale C. (LARC-E402)" userId="976f669d-712a-4a9a-aa4a-4ae99a7806d0" providerId="ADAL" clId="{E660630E-4995-45C2-AFF3-5A65AAC8FD5B}" dt="2021-07-07T19:08:01.746" v="1473" actId="20577"/>
        <pc:sldMkLst>
          <pc:docMk/>
          <pc:sldMk cId="1621443886" sldId="834"/>
        </pc:sldMkLst>
        <pc:spChg chg="mod">
          <ac:chgData name="Arney, Dale C. (LARC-E402)" userId="976f669d-712a-4a9a-aa4a-4ae99a7806d0" providerId="ADAL" clId="{E660630E-4995-45C2-AFF3-5A65AAC8FD5B}" dt="2021-07-07T19:08:01.746" v="1473" actId="20577"/>
          <ac:spMkLst>
            <pc:docMk/>
            <pc:sldMk cId="1621443886" sldId="834"/>
            <ac:spMk id="7" creationId="{722CAC7A-D4C4-40EB-B96F-D8AA5C3732F9}"/>
          </ac:spMkLst>
        </pc:spChg>
      </pc:sldChg>
      <pc:sldChg chg="modSp ord modNotesTx">
        <pc:chgData name="Arney, Dale C. (LARC-E402)" userId="976f669d-712a-4a9a-aa4a-4ae99a7806d0" providerId="ADAL" clId="{E660630E-4995-45C2-AFF3-5A65AAC8FD5B}" dt="2021-07-07T17:42:37.985" v="1210" actId="5793"/>
        <pc:sldMkLst>
          <pc:docMk/>
          <pc:sldMk cId="123941553" sldId="840"/>
        </pc:sldMkLst>
        <pc:spChg chg="mod">
          <ac:chgData name="Arney, Dale C. (LARC-E402)" userId="976f669d-712a-4a9a-aa4a-4ae99a7806d0" providerId="ADAL" clId="{E660630E-4995-45C2-AFF3-5A65AAC8FD5B}" dt="2021-07-07T13:31:23.281" v="103" actId="2711"/>
          <ac:spMkLst>
            <pc:docMk/>
            <pc:sldMk cId="123941553" sldId="840"/>
            <ac:spMk id="6" creationId="{914A36F0-6793-4D0C-BF01-9AE57B64D9E2}"/>
          </ac:spMkLst>
        </pc:spChg>
      </pc:sldChg>
      <pc:sldChg chg="del">
        <pc:chgData name="Arney, Dale C. (LARC-E402)" userId="976f669d-712a-4a9a-aa4a-4ae99a7806d0" providerId="ADAL" clId="{E660630E-4995-45C2-AFF3-5A65AAC8FD5B}" dt="2021-07-07T13:29:30.698" v="88" actId="2696"/>
        <pc:sldMkLst>
          <pc:docMk/>
          <pc:sldMk cId="2659170397" sldId="841"/>
        </pc:sldMkLst>
      </pc:sldChg>
      <pc:sldChg chg="delSp modSp add">
        <pc:chgData name="Arney, Dale C. (LARC-E402)" userId="976f669d-712a-4a9a-aa4a-4ae99a7806d0" providerId="ADAL" clId="{E660630E-4995-45C2-AFF3-5A65AAC8FD5B}" dt="2021-07-07T19:04:49.466" v="1458" actId="20577"/>
        <pc:sldMkLst>
          <pc:docMk/>
          <pc:sldMk cId="65976307" sldId="2039"/>
        </pc:sldMkLst>
        <pc:spChg chg="mod">
          <ac:chgData name="Arney, Dale C. (LARC-E402)" userId="976f669d-712a-4a9a-aa4a-4ae99a7806d0" providerId="ADAL" clId="{E660630E-4995-45C2-AFF3-5A65AAC8FD5B}" dt="2021-07-07T19:04:49.466" v="1458" actId="20577"/>
          <ac:spMkLst>
            <pc:docMk/>
            <pc:sldMk cId="65976307" sldId="2039"/>
            <ac:spMk id="3" creationId="{554128EA-3AE8-4FD9-AEB1-F75A8B8F5A98}"/>
          </ac:spMkLst>
        </pc:spChg>
        <pc:spChg chg="del">
          <ac:chgData name="Arney, Dale C. (LARC-E402)" userId="976f669d-712a-4a9a-aa4a-4ae99a7806d0" providerId="ADAL" clId="{E660630E-4995-45C2-AFF3-5A65AAC8FD5B}" dt="2021-07-07T13:53:19.699" v="397" actId="478"/>
          <ac:spMkLst>
            <pc:docMk/>
            <pc:sldMk cId="65976307" sldId="2039"/>
            <ac:spMk id="5" creationId="{9FC3A8BD-4ACC-49D6-B7E1-59EC090242CE}"/>
          </ac:spMkLst>
        </pc:spChg>
      </pc:sldChg>
      <pc:sldChg chg="del">
        <pc:chgData name="Arney, Dale C. (LARC-E402)" userId="976f669d-712a-4a9a-aa4a-4ae99a7806d0" providerId="ADAL" clId="{E660630E-4995-45C2-AFF3-5A65AAC8FD5B}" dt="2021-07-07T17:44:03.280" v="1218" actId="2696"/>
        <pc:sldMkLst>
          <pc:docMk/>
          <pc:sldMk cId="2955755037" sldId="2042"/>
        </pc:sldMkLst>
      </pc:sldChg>
      <pc:sldChg chg="del">
        <pc:chgData name="Arney, Dale C. (LARC-E402)" userId="976f669d-712a-4a9a-aa4a-4ae99a7806d0" providerId="ADAL" clId="{E660630E-4995-45C2-AFF3-5A65AAC8FD5B}" dt="2021-07-07T13:29:30.653" v="85" actId="2696"/>
        <pc:sldMkLst>
          <pc:docMk/>
          <pc:sldMk cId="2975558191" sldId="2044"/>
        </pc:sldMkLst>
      </pc:sldChg>
      <pc:sldChg chg="del">
        <pc:chgData name="Arney, Dale C. (LARC-E402)" userId="976f669d-712a-4a9a-aa4a-4ae99a7806d0" providerId="ADAL" clId="{E660630E-4995-45C2-AFF3-5A65AAC8FD5B}" dt="2021-07-07T17:44:03.227" v="1216" actId="2696"/>
        <pc:sldMkLst>
          <pc:docMk/>
          <pc:sldMk cId="2637678613" sldId="2047"/>
        </pc:sldMkLst>
      </pc:sldChg>
      <pc:sldChg chg="del">
        <pc:chgData name="Arney, Dale C. (LARC-E402)" userId="976f669d-712a-4a9a-aa4a-4ae99a7806d0" providerId="ADAL" clId="{E660630E-4995-45C2-AFF3-5A65AAC8FD5B}" dt="2021-07-07T13:29:30.680" v="87" actId="2696"/>
        <pc:sldMkLst>
          <pc:docMk/>
          <pc:sldMk cId="1242668567" sldId="2048"/>
        </pc:sldMkLst>
      </pc:sldChg>
      <pc:sldChg chg="modSp add del modNotesTx">
        <pc:chgData name="Arney, Dale C. (LARC-E402)" userId="976f669d-712a-4a9a-aa4a-4ae99a7806d0" providerId="ADAL" clId="{E660630E-4995-45C2-AFF3-5A65AAC8FD5B}" dt="2021-07-07T17:45:44.463" v="1264" actId="2696"/>
        <pc:sldMkLst>
          <pc:docMk/>
          <pc:sldMk cId="3660027431" sldId="2048"/>
        </pc:sldMkLst>
        <pc:spChg chg="mod">
          <ac:chgData name="Arney, Dale C. (LARC-E402)" userId="976f669d-712a-4a9a-aa4a-4ae99a7806d0" providerId="ADAL" clId="{E660630E-4995-45C2-AFF3-5A65AAC8FD5B}" dt="2021-07-07T17:45:35.148" v="1263" actId="6549"/>
          <ac:spMkLst>
            <pc:docMk/>
            <pc:sldMk cId="3660027431" sldId="2048"/>
            <ac:spMk id="3" creationId="{F59CCF10-A084-427D-BF05-09D81480BCD9}"/>
          </ac:spMkLst>
        </pc:spChg>
      </pc:sldChg>
      <pc:sldChg chg="add del">
        <pc:chgData name="Arney, Dale C. (LARC-E402)" userId="976f669d-712a-4a9a-aa4a-4ae99a7806d0" providerId="ADAL" clId="{E660630E-4995-45C2-AFF3-5A65AAC8FD5B}" dt="2021-07-07T17:31:04.435" v="901" actId="2696"/>
        <pc:sldMkLst>
          <pc:docMk/>
          <pc:sldMk cId="155002221" sldId="2049"/>
        </pc:sldMkLst>
      </pc:sldChg>
      <pc:sldChg chg="add del">
        <pc:chgData name="Arney, Dale C. (LARC-E402)" userId="976f669d-712a-4a9a-aa4a-4ae99a7806d0" providerId="ADAL" clId="{E660630E-4995-45C2-AFF3-5A65AAC8FD5B}" dt="2021-07-07T17:39:41.560" v="1154" actId="2696"/>
        <pc:sldMkLst>
          <pc:docMk/>
          <pc:sldMk cId="1015046661" sldId="2050"/>
        </pc:sldMkLst>
      </pc:sldChg>
      <pc:sldChg chg="add del">
        <pc:chgData name="Arney, Dale C. (LARC-E402)" userId="976f669d-712a-4a9a-aa4a-4ae99a7806d0" providerId="ADAL" clId="{E660630E-4995-45C2-AFF3-5A65AAC8FD5B}" dt="2021-07-07T17:43:20.922" v="1211" actId="2696"/>
        <pc:sldMkLst>
          <pc:docMk/>
          <pc:sldMk cId="4237901721" sldId="2051"/>
        </pc:sldMkLst>
      </pc:sldChg>
      <pc:sldChg chg="addSp delSp modSp add">
        <pc:chgData name="Arney, Dale C. (LARC-E402)" userId="976f669d-712a-4a9a-aa4a-4ae99a7806d0" providerId="ADAL" clId="{E660630E-4995-45C2-AFF3-5A65AAC8FD5B}" dt="2021-07-07T19:17:24.633" v="1626" actId="1076"/>
        <pc:sldMkLst>
          <pc:docMk/>
          <pc:sldMk cId="834519364" sldId="2052"/>
        </pc:sldMkLst>
        <pc:spChg chg="add mod">
          <ac:chgData name="Arney, Dale C. (LARC-E402)" userId="976f669d-712a-4a9a-aa4a-4ae99a7806d0" providerId="ADAL" clId="{E660630E-4995-45C2-AFF3-5A65AAC8FD5B}" dt="2021-07-07T13:57:35.316" v="573" actId="20577"/>
          <ac:spMkLst>
            <pc:docMk/>
            <pc:sldMk cId="834519364" sldId="2052"/>
            <ac:spMk id="3" creationId="{C19C606E-1674-4326-AF88-B7BFE4E8E522}"/>
          </ac:spMkLst>
        </pc:spChg>
        <pc:spChg chg="add del mod">
          <ac:chgData name="Arney, Dale C. (LARC-E402)" userId="976f669d-712a-4a9a-aa4a-4ae99a7806d0" providerId="ADAL" clId="{E660630E-4995-45C2-AFF3-5A65AAC8FD5B}" dt="2021-07-07T19:15:49.454" v="1573" actId="478"/>
          <ac:spMkLst>
            <pc:docMk/>
            <pc:sldMk cId="834519364" sldId="2052"/>
            <ac:spMk id="4" creationId="{5A1FC329-99E8-413C-A8EE-895052C252DD}"/>
          </ac:spMkLst>
        </pc:spChg>
        <pc:spChg chg="add mod">
          <ac:chgData name="Arney, Dale C. (LARC-E402)" userId="976f669d-712a-4a9a-aa4a-4ae99a7806d0" providerId="ADAL" clId="{E660630E-4995-45C2-AFF3-5A65AAC8FD5B}" dt="2021-07-07T19:17:07.929" v="1623" actId="164"/>
          <ac:spMkLst>
            <pc:docMk/>
            <pc:sldMk cId="834519364" sldId="2052"/>
            <ac:spMk id="5" creationId="{C0242F1E-134A-4791-877F-BB92E4A666D0}"/>
          </ac:spMkLst>
        </pc:spChg>
        <pc:spChg chg="add mod">
          <ac:chgData name="Arney, Dale C. (LARC-E402)" userId="976f669d-712a-4a9a-aa4a-4ae99a7806d0" providerId="ADAL" clId="{E660630E-4995-45C2-AFF3-5A65AAC8FD5B}" dt="2021-07-07T19:17:07.929" v="1623" actId="164"/>
          <ac:spMkLst>
            <pc:docMk/>
            <pc:sldMk cId="834519364" sldId="2052"/>
            <ac:spMk id="7" creationId="{1BCFC5C2-3AFC-445B-90A7-82C4600113ED}"/>
          </ac:spMkLst>
        </pc:spChg>
        <pc:spChg chg="add del mod">
          <ac:chgData name="Arney, Dale C. (LARC-E402)" userId="976f669d-712a-4a9a-aa4a-4ae99a7806d0" providerId="ADAL" clId="{E660630E-4995-45C2-AFF3-5A65AAC8FD5B}" dt="2021-07-07T19:15:57.758" v="1574"/>
          <ac:spMkLst>
            <pc:docMk/>
            <pc:sldMk cId="834519364" sldId="2052"/>
            <ac:spMk id="8" creationId="{071B8397-3261-4C37-B84E-605E6ED55983}"/>
          </ac:spMkLst>
        </pc:spChg>
        <pc:spChg chg="add mod">
          <ac:chgData name="Arney, Dale C. (LARC-E402)" userId="976f669d-712a-4a9a-aa4a-4ae99a7806d0" providerId="ADAL" clId="{E660630E-4995-45C2-AFF3-5A65AAC8FD5B}" dt="2021-07-07T19:17:07.929" v="1623" actId="164"/>
          <ac:spMkLst>
            <pc:docMk/>
            <pc:sldMk cId="834519364" sldId="2052"/>
            <ac:spMk id="9" creationId="{FD9D2EB5-C42B-4063-B6B1-5FB51247AEAC}"/>
          </ac:spMkLst>
        </pc:spChg>
        <pc:spChg chg="add mod topLvl">
          <ac:chgData name="Arney, Dale C. (LARC-E402)" userId="976f669d-712a-4a9a-aa4a-4ae99a7806d0" providerId="ADAL" clId="{E660630E-4995-45C2-AFF3-5A65AAC8FD5B}" dt="2021-07-07T19:17:02.214" v="1622" actId="164"/>
          <ac:spMkLst>
            <pc:docMk/>
            <pc:sldMk cId="834519364" sldId="2052"/>
            <ac:spMk id="13" creationId="{6BFB3C2F-89D3-402C-95FF-EFDDEDB557C3}"/>
          </ac:spMkLst>
        </pc:spChg>
        <pc:spChg chg="add del mod">
          <ac:chgData name="Arney, Dale C. (LARC-E402)" userId="976f669d-712a-4a9a-aa4a-4ae99a7806d0" providerId="ADAL" clId="{E660630E-4995-45C2-AFF3-5A65AAC8FD5B}" dt="2021-07-07T19:16:42.927" v="1605" actId="478"/>
          <ac:spMkLst>
            <pc:docMk/>
            <pc:sldMk cId="834519364" sldId="2052"/>
            <ac:spMk id="14" creationId="{11E975C1-4182-4B80-A128-CA8B3DF701A6}"/>
          </ac:spMkLst>
        </pc:spChg>
        <pc:spChg chg="add mod">
          <ac:chgData name="Arney, Dale C. (LARC-E402)" userId="976f669d-712a-4a9a-aa4a-4ae99a7806d0" providerId="ADAL" clId="{E660630E-4995-45C2-AFF3-5A65AAC8FD5B}" dt="2021-07-07T19:17:02.214" v="1622" actId="164"/>
          <ac:spMkLst>
            <pc:docMk/>
            <pc:sldMk cId="834519364" sldId="2052"/>
            <ac:spMk id="15" creationId="{31F7A87F-DCFF-4476-913C-16221E208D69}"/>
          </ac:spMkLst>
        </pc:spChg>
        <pc:grpChg chg="add del mod">
          <ac:chgData name="Arney, Dale C. (LARC-E402)" userId="976f669d-712a-4a9a-aa4a-4ae99a7806d0" providerId="ADAL" clId="{E660630E-4995-45C2-AFF3-5A65AAC8FD5B}" dt="2021-07-07T19:16:58.936" v="1621" actId="165"/>
          <ac:grpSpMkLst>
            <pc:docMk/>
            <pc:sldMk cId="834519364" sldId="2052"/>
            <ac:grpSpMk id="10" creationId="{02211C87-AE3D-4E6E-A363-518DBDF29416}"/>
          </ac:grpSpMkLst>
        </pc:grpChg>
        <pc:grpChg chg="add mod">
          <ac:chgData name="Arney, Dale C. (LARC-E402)" userId="976f669d-712a-4a9a-aa4a-4ae99a7806d0" providerId="ADAL" clId="{E660630E-4995-45C2-AFF3-5A65AAC8FD5B}" dt="2021-07-07T19:17:24.633" v="1626" actId="1076"/>
          <ac:grpSpMkLst>
            <pc:docMk/>
            <pc:sldMk cId="834519364" sldId="2052"/>
            <ac:grpSpMk id="11" creationId="{E59F1D78-E1E6-4974-97D3-99B1C6B41E9C}"/>
          </ac:grpSpMkLst>
        </pc:grpChg>
        <pc:grpChg chg="add mod">
          <ac:chgData name="Arney, Dale C. (LARC-E402)" userId="976f669d-712a-4a9a-aa4a-4ae99a7806d0" providerId="ADAL" clId="{E660630E-4995-45C2-AFF3-5A65AAC8FD5B}" dt="2021-07-07T19:17:24.633" v="1626" actId="1076"/>
          <ac:grpSpMkLst>
            <pc:docMk/>
            <pc:sldMk cId="834519364" sldId="2052"/>
            <ac:grpSpMk id="12" creationId="{3BCBBE98-FCA0-488E-B2D0-97D1D631FAC3}"/>
          </ac:grpSpMkLst>
        </pc:grpChg>
        <pc:picChg chg="add mod">
          <ac:chgData name="Arney, Dale C. (LARC-E402)" userId="976f669d-712a-4a9a-aa4a-4ae99a7806d0" providerId="ADAL" clId="{E660630E-4995-45C2-AFF3-5A65AAC8FD5B}" dt="2021-07-07T19:17:07.929" v="1623" actId="164"/>
          <ac:picMkLst>
            <pc:docMk/>
            <pc:sldMk cId="834519364" sldId="2052"/>
            <ac:picMk id="3074" creationId="{C0362F2F-3FA8-4AD0-AC04-53EBEAAD90F2}"/>
          </ac:picMkLst>
        </pc:picChg>
        <pc:picChg chg="add mod">
          <ac:chgData name="Arney, Dale C. (LARC-E402)" userId="976f669d-712a-4a9a-aa4a-4ae99a7806d0" providerId="ADAL" clId="{E660630E-4995-45C2-AFF3-5A65AAC8FD5B}" dt="2021-07-07T19:17:07.929" v="1623" actId="164"/>
          <ac:picMkLst>
            <pc:docMk/>
            <pc:sldMk cId="834519364" sldId="2052"/>
            <ac:picMk id="3076" creationId="{4B0FDE95-2DA3-442D-8CC1-D90045126619}"/>
          </ac:picMkLst>
        </pc:picChg>
        <pc:picChg chg="add mod topLvl">
          <ac:chgData name="Arney, Dale C. (LARC-E402)" userId="976f669d-712a-4a9a-aa4a-4ae99a7806d0" providerId="ADAL" clId="{E660630E-4995-45C2-AFF3-5A65AAC8FD5B}" dt="2021-07-07T19:17:02.214" v="1622" actId="164"/>
          <ac:picMkLst>
            <pc:docMk/>
            <pc:sldMk cId="834519364" sldId="2052"/>
            <ac:picMk id="3078" creationId="{9F42AFC5-81CE-4A65-AEC5-09A508737453}"/>
          </ac:picMkLst>
        </pc:picChg>
      </pc:sldChg>
      <pc:sldChg chg="addSp delSp modSp add">
        <pc:chgData name="Arney, Dale C. (LARC-E402)" userId="976f669d-712a-4a9a-aa4a-4ae99a7806d0" providerId="ADAL" clId="{E660630E-4995-45C2-AFF3-5A65AAC8FD5B}" dt="2021-07-07T17:12:47.748" v="732" actId="2085"/>
        <pc:sldMkLst>
          <pc:docMk/>
          <pc:sldMk cId="3210426827" sldId="2053"/>
        </pc:sldMkLst>
        <pc:spChg chg="del">
          <ac:chgData name="Arney, Dale C. (LARC-E402)" userId="976f669d-712a-4a9a-aa4a-4ae99a7806d0" providerId="ADAL" clId="{E660630E-4995-45C2-AFF3-5A65AAC8FD5B}" dt="2021-07-07T16:55:55.438" v="575"/>
          <ac:spMkLst>
            <pc:docMk/>
            <pc:sldMk cId="3210426827" sldId="2053"/>
            <ac:spMk id="2" creationId="{52CDCF56-AAC5-42D6-A112-CD9723DCBD3E}"/>
          </ac:spMkLst>
        </pc:spChg>
        <pc:spChg chg="del">
          <ac:chgData name="Arney, Dale C. (LARC-E402)" userId="976f669d-712a-4a9a-aa4a-4ae99a7806d0" providerId="ADAL" clId="{E660630E-4995-45C2-AFF3-5A65AAC8FD5B}" dt="2021-07-07T16:55:55.438" v="575"/>
          <ac:spMkLst>
            <pc:docMk/>
            <pc:sldMk cId="3210426827" sldId="2053"/>
            <ac:spMk id="3" creationId="{DFC7C8D6-F58B-4304-8A72-66AD4B747521}"/>
          </ac:spMkLst>
        </pc:spChg>
        <pc:spChg chg="add mod">
          <ac:chgData name="Arney, Dale C. (LARC-E402)" userId="976f669d-712a-4a9a-aa4a-4ae99a7806d0" providerId="ADAL" clId="{E660630E-4995-45C2-AFF3-5A65AAC8FD5B}" dt="2021-07-07T16:56:01.532" v="594" actId="20577"/>
          <ac:spMkLst>
            <pc:docMk/>
            <pc:sldMk cId="3210426827" sldId="2053"/>
            <ac:spMk id="5" creationId="{F0DAE6AA-5ED4-44DA-A6B7-80A5A2C55636}"/>
          </ac:spMkLst>
        </pc:spChg>
        <pc:spChg chg="add mod">
          <ac:chgData name="Arney, Dale C. (LARC-E402)" userId="976f669d-712a-4a9a-aa4a-4ae99a7806d0" providerId="ADAL" clId="{E660630E-4995-45C2-AFF3-5A65AAC8FD5B}" dt="2021-07-07T17:12:47.748" v="732" actId="2085"/>
          <ac:spMkLst>
            <pc:docMk/>
            <pc:sldMk cId="3210426827" sldId="2053"/>
            <ac:spMk id="12" creationId="{195454CA-42F8-45CB-953A-609983750344}"/>
          </ac:spMkLst>
        </pc:spChg>
        <pc:spChg chg="add mod">
          <ac:chgData name="Arney, Dale C. (LARC-E402)" userId="976f669d-712a-4a9a-aa4a-4ae99a7806d0" providerId="ADAL" clId="{E660630E-4995-45C2-AFF3-5A65AAC8FD5B}" dt="2021-07-07T17:11:12.762" v="730" actId="12788"/>
          <ac:spMkLst>
            <pc:docMk/>
            <pc:sldMk cId="3210426827" sldId="2053"/>
            <ac:spMk id="13" creationId="{8994F66E-E45C-42FC-8771-77DD9057D8A9}"/>
          </ac:spMkLst>
        </pc:spChg>
        <pc:spChg chg="add mod">
          <ac:chgData name="Arney, Dale C. (LARC-E402)" userId="976f669d-712a-4a9a-aa4a-4ae99a7806d0" providerId="ADAL" clId="{E660630E-4995-45C2-AFF3-5A65AAC8FD5B}" dt="2021-07-07T17:11:04.191" v="728" actId="12788"/>
          <ac:spMkLst>
            <pc:docMk/>
            <pc:sldMk cId="3210426827" sldId="2053"/>
            <ac:spMk id="14" creationId="{2AFEA752-17C5-469B-89F1-9E1485392978}"/>
          </ac:spMkLst>
        </pc:spChg>
        <pc:grpChg chg="add mod">
          <ac:chgData name="Arney, Dale C. (LARC-E402)" userId="976f669d-712a-4a9a-aa4a-4ae99a7806d0" providerId="ADAL" clId="{E660630E-4995-45C2-AFF3-5A65AAC8FD5B}" dt="2021-07-07T17:11:04.191" v="728" actId="12788"/>
          <ac:grpSpMkLst>
            <pc:docMk/>
            <pc:sldMk cId="3210426827" sldId="2053"/>
            <ac:grpSpMk id="15" creationId="{45658704-6EEB-4343-815C-599F463D2FAE}"/>
          </ac:grpSpMkLst>
        </pc:grpChg>
        <pc:grpChg chg="add mod">
          <ac:chgData name="Arney, Dale C. (LARC-E402)" userId="976f669d-712a-4a9a-aa4a-4ae99a7806d0" providerId="ADAL" clId="{E660630E-4995-45C2-AFF3-5A65AAC8FD5B}" dt="2021-07-07T17:11:12.762" v="730" actId="12788"/>
          <ac:grpSpMkLst>
            <pc:docMk/>
            <pc:sldMk cId="3210426827" sldId="2053"/>
            <ac:grpSpMk id="16" creationId="{A8560FF6-924E-4251-8A9F-DD5B4DBE857C}"/>
          </ac:grpSpMkLst>
        </pc:grpChg>
        <pc:picChg chg="add mod">
          <ac:chgData name="Arney, Dale C. (LARC-E402)" userId="976f669d-712a-4a9a-aa4a-4ae99a7806d0" providerId="ADAL" clId="{E660630E-4995-45C2-AFF3-5A65AAC8FD5B}" dt="2021-07-07T17:11:08.963" v="729" actId="164"/>
          <ac:picMkLst>
            <pc:docMk/>
            <pc:sldMk cId="3210426827" sldId="2053"/>
            <ac:picMk id="6" creationId="{C5C6E766-802C-4B45-9312-1D4488C48330}"/>
          </ac:picMkLst>
        </pc:picChg>
        <pc:picChg chg="add mod">
          <ac:chgData name="Arney, Dale C. (LARC-E402)" userId="976f669d-712a-4a9a-aa4a-4ae99a7806d0" providerId="ADAL" clId="{E660630E-4995-45C2-AFF3-5A65AAC8FD5B}" dt="2021-07-07T17:11:08.963" v="729" actId="164"/>
          <ac:picMkLst>
            <pc:docMk/>
            <pc:sldMk cId="3210426827" sldId="2053"/>
            <ac:picMk id="7" creationId="{122F980B-D5E3-4D1A-AD7D-91AE71E7588A}"/>
          </ac:picMkLst>
        </pc:picChg>
        <pc:picChg chg="add mod">
          <ac:chgData name="Arney, Dale C. (LARC-E402)" userId="976f669d-712a-4a9a-aa4a-4ae99a7806d0" providerId="ADAL" clId="{E660630E-4995-45C2-AFF3-5A65AAC8FD5B}" dt="2021-07-07T17:10:59.796" v="727" actId="164"/>
          <ac:picMkLst>
            <pc:docMk/>
            <pc:sldMk cId="3210426827" sldId="2053"/>
            <ac:picMk id="8" creationId="{D7A9EB90-6AAF-4E96-A9DE-CBCEF1A6EB0B}"/>
          </ac:picMkLst>
        </pc:picChg>
        <pc:picChg chg="add mod modCrop">
          <ac:chgData name="Arney, Dale C. (LARC-E402)" userId="976f669d-712a-4a9a-aa4a-4ae99a7806d0" providerId="ADAL" clId="{E660630E-4995-45C2-AFF3-5A65AAC8FD5B}" dt="2021-07-07T17:10:59.796" v="727" actId="164"/>
          <ac:picMkLst>
            <pc:docMk/>
            <pc:sldMk cId="3210426827" sldId="2053"/>
            <ac:picMk id="9" creationId="{A4548328-CBD7-4B13-8B32-0DFA045B3732}"/>
          </ac:picMkLst>
        </pc:picChg>
        <pc:picChg chg="add mod">
          <ac:chgData name="Arney, Dale C. (LARC-E402)" userId="976f669d-712a-4a9a-aa4a-4ae99a7806d0" providerId="ADAL" clId="{E660630E-4995-45C2-AFF3-5A65AAC8FD5B}" dt="2021-07-07T17:10:59.796" v="727" actId="164"/>
          <ac:picMkLst>
            <pc:docMk/>
            <pc:sldMk cId="3210426827" sldId="2053"/>
            <ac:picMk id="10" creationId="{061E290F-BC99-412C-8849-7F24A5238B86}"/>
          </ac:picMkLst>
        </pc:picChg>
        <pc:picChg chg="add mod">
          <ac:chgData name="Arney, Dale C. (LARC-E402)" userId="976f669d-712a-4a9a-aa4a-4ae99a7806d0" providerId="ADAL" clId="{E660630E-4995-45C2-AFF3-5A65AAC8FD5B}" dt="2021-07-07T17:10:59.796" v="727" actId="164"/>
          <ac:picMkLst>
            <pc:docMk/>
            <pc:sldMk cId="3210426827" sldId="2053"/>
            <ac:picMk id="11" creationId="{A7EB0961-DEE6-4080-A851-55C91350C347}"/>
          </ac:picMkLst>
        </pc:picChg>
      </pc:sldChg>
      <pc:sldChg chg="addSp delSp modSp add modNotesTx">
        <pc:chgData name="Arney, Dale C. (LARC-E402)" userId="976f669d-712a-4a9a-aa4a-4ae99a7806d0" providerId="ADAL" clId="{E660630E-4995-45C2-AFF3-5A65AAC8FD5B}" dt="2021-07-07T17:51:40.162" v="1429" actId="20577"/>
        <pc:sldMkLst>
          <pc:docMk/>
          <pc:sldMk cId="525953628" sldId="2054"/>
        </pc:sldMkLst>
        <pc:spChg chg="mod">
          <ac:chgData name="Arney, Dale C. (LARC-E402)" userId="976f669d-712a-4a9a-aa4a-4ae99a7806d0" providerId="ADAL" clId="{E660630E-4995-45C2-AFF3-5A65AAC8FD5B}" dt="2021-07-07T17:13:26.861" v="765" actId="20577"/>
          <ac:spMkLst>
            <pc:docMk/>
            <pc:sldMk cId="525953628" sldId="2054"/>
            <ac:spMk id="2" creationId="{4A520B3F-C7D6-46E3-8C67-98369F584E67}"/>
          </ac:spMkLst>
        </pc:spChg>
        <pc:spChg chg="add del mod">
          <ac:chgData name="Arney, Dale C. (LARC-E402)" userId="976f669d-712a-4a9a-aa4a-4ae99a7806d0" providerId="ADAL" clId="{E660630E-4995-45C2-AFF3-5A65AAC8FD5B}" dt="2021-07-07T17:25:19.518" v="795" actId="478"/>
          <ac:spMkLst>
            <pc:docMk/>
            <pc:sldMk cId="525953628" sldId="2054"/>
            <ac:spMk id="4" creationId="{E7A663DA-1ECB-4363-8865-F27F4A7EAAFD}"/>
          </ac:spMkLst>
        </pc:spChg>
        <pc:spChg chg="add del mod">
          <ac:chgData name="Arney, Dale C. (LARC-E402)" userId="976f669d-712a-4a9a-aa4a-4ae99a7806d0" providerId="ADAL" clId="{E660630E-4995-45C2-AFF3-5A65AAC8FD5B}" dt="2021-07-07T17:25:21.446" v="796" actId="478"/>
          <ac:spMkLst>
            <pc:docMk/>
            <pc:sldMk cId="525953628" sldId="2054"/>
            <ac:spMk id="11" creationId="{C27B6A62-ECCB-4184-9B67-54476D7D7213}"/>
          </ac:spMkLst>
        </pc:spChg>
        <pc:spChg chg="add mod">
          <ac:chgData name="Arney, Dale C. (LARC-E402)" userId="976f669d-712a-4a9a-aa4a-4ae99a7806d0" providerId="ADAL" clId="{E660630E-4995-45C2-AFF3-5A65AAC8FD5B}" dt="2021-07-07T17:29:47.373" v="859" actId="20577"/>
          <ac:spMkLst>
            <pc:docMk/>
            <pc:sldMk cId="525953628" sldId="2054"/>
            <ac:spMk id="12" creationId="{1F4DCC71-49FA-4D3C-BB8E-2762B14A14A6}"/>
          </ac:spMkLst>
        </pc:spChg>
        <pc:spChg chg="add mod">
          <ac:chgData name="Arney, Dale C. (LARC-E402)" userId="976f669d-712a-4a9a-aa4a-4ae99a7806d0" providerId="ADAL" clId="{E660630E-4995-45C2-AFF3-5A65AAC8FD5B}" dt="2021-07-07T17:30:42.532" v="900" actId="1076"/>
          <ac:spMkLst>
            <pc:docMk/>
            <pc:sldMk cId="525953628" sldId="2054"/>
            <ac:spMk id="13" creationId="{93E52B09-DF1A-4529-9145-B4BC1261534D}"/>
          </ac:spMkLst>
        </pc:spChg>
        <pc:spChg chg="add mod">
          <ac:chgData name="Arney, Dale C. (LARC-E402)" userId="976f669d-712a-4a9a-aa4a-4ae99a7806d0" providerId="ADAL" clId="{E660630E-4995-45C2-AFF3-5A65AAC8FD5B}" dt="2021-07-07T17:51:12.170" v="1339" actId="20577"/>
          <ac:spMkLst>
            <pc:docMk/>
            <pc:sldMk cId="525953628" sldId="2054"/>
            <ac:spMk id="15" creationId="{115C40A5-C099-4AEC-92D9-6C859FF4943C}"/>
          </ac:spMkLst>
        </pc:spChg>
        <pc:grpChg chg="add mod">
          <ac:chgData name="Arney, Dale C. (LARC-E402)" userId="976f669d-712a-4a9a-aa4a-4ae99a7806d0" providerId="ADAL" clId="{E660630E-4995-45C2-AFF3-5A65AAC8FD5B}" dt="2021-07-07T17:26:50.304" v="813" actId="1076"/>
          <ac:grpSpMkLst>
            <pc:docMk/>
            <pc:sldMk cId="525953628" sldId="2054"/>
            <ac:grpSpMk id="5" creationId="{67E04579-8204-4EFE-A5CF-BA849562ACBA}"/>
          </ac:grpSpMkLst>
        </pc:grpChg>
        <pc:picChg chg="add mod">
          <ac:chgData name="Arney, Dale C. (LARC-E402)" userId="976f669d-712a-4a9a-aa4a-4ae99a7806d0" providerId="ADAL" clId="{E660630E-4995-45C2-AFF3-5A65AAC8FD5B}" dt="2021-07-07T17:26:50.304" v="813" actId="1076"/>
          <ac:picMkLst>
            <pc:docMk/>
            <pc:sldMk cId="525953628" sldId="2054"/>
            <ac:picMk id="8" creationId="{086C794D-1760-4914-86C3-EA066864F30C}"/>
          </ac:picMkLst>
        </pc:picChg>
        <pc:picChg chg="add mod">
          <ac:chgData name="Arney, Dale C. (LARC-E402)" userId="976f669d-712a-4a9a-aa4a-4ae99a7806d0" providerId="ADAL" clId="{E660630E-4995-45C2-AFF3-5A65AAC8FD5B}" dt="2021-07-07T17:26:50.304" v="813" actId="1076"/>
          <ac:picMkLst>
            <pc:docMk/>
            <pc:sldMk cId="525953628" sldId="2054"/>
            <ac:picMk id="9" creationId="{66A5B553-6A41-46E1-946D-09741974343E}"/>
          </ac:picMkLst>
        </pc:picChg>
        <pc:picChg chg="add mod">
          <ac:chgData name="Arney, Dale C. (LARC-E402)" userId="976f669d-712a-4a9a-aa4a-4ae99a7806d0" providerId="ADAL" clId="{E660630E-4995-45C2-AFF3-5A65AAC8FD5B}" dt="2021-07-07T17:26:50.304" v="813" actId="1076"/>
          <ac:picMkLst>
            <pc:docMk/>
            <pc:sldMk cId="525953628" sldId="2054"/>
            <ac:picMk id="2050" creationId="{E3FCEF6E-189C-4A2F-8E1C-325FDF9B4C0B}"/>
          </ac:picMkLst>
        </pc:picChg>
        <pc:picChg chg="add mod">
          <ac:chgData name="Arney, Dale C. (LARC-E402)" userId="976f669d-712a-4a9a-aa4a-4ae99a7806d0" providerId="ADAL" clId="{E660630E-4995-45C2-AFF3-5A65AAC8FD5B}" dt="2021-07-07T17:29:39.208" v="844" actId="1076"/>
          <ac:picMkLst>
            <pc:docMk/>
            <pc:sldMk cId="525953628" sldId="2054"/>
            <ac:picMk id="2052" creationId="{B9776AF6-340B-413B-8E09-6DA877EA127E}"/>
          </ac:picMkLst>
        </pc:picChg>
      </pc:sldChg>
      <pc:sldChg chg="addSp modSp add modNotesTx">
        <pc:chgData name="Arney, Dale C. (LARC-E402)" userId="976f669d-712a-4a9a-aa4a-4ae99a7806d0" providerId="ADAL" clId="{E660630E-4995-45C2-AFF3-5A65AAC8FD5B}" dt="2021-07-07T17:44:29.275" v="1222" actId="14100"/>
        <pc:sldMkLst>
          <pc:docMk/>
          <pc:sldMk cId="1918673350" sldId="2055"/>
        </pc:sldMkLst>
        <pc:spChg chg="mod">
          <ac:chgData name="Arney, Dale C. (LARC-E402)" userId="976f669d-712a-4a9a-aa4a-4ae99a7806d0" providerId="ADAL" clId="{E660630E-4995-45C2-AFF3-5A65AAC8FD5B}" dt="2021-07-07T17:36:42.464" v="944" actId="20577"/>
          <ac:spMkLst>
            <pc:docMk/>
            <pc:sldMk cId="1918673350" sldId="2055"/>
            <ac:spMk id="2" creationId="{691FFF23-A782-4E6E-8DDA-FA3FFBD2851D}"/>
          </ac:spMkLst>
        </pc:spChg>
        <pc:spChg chg="mod">
          <ac:chgData name="Arney, Dale C. (LARC-E402)" userId="976f669d-712a-4a9a-aa4a-4ae99a7806d0" providerId="ADAL" clId="{E660630E-4995-45C2-AFF3-5A65AAC8FD5B}" dt="2021-07-07T17:44:29.275" v="1222" actId="14100"/>
          <ac:spMkLst>
            <pc:docMk/>
            <pc:sldMk cId="1918673350" sldId="2055"/>
            <ac:spMk id="3" creationId="{EFC542AF-A923-4FC5-B338-2CE623D09D7F}"/>
          </ac:spMkLst>
        </pc:spChg>
        <pc:picChg chg="add mod">
          <ac:chgData name="Arney, Dale C. (LARC-E402)" userId="976f669d-712a-4a9a-aa4a-4ae99a7806d0" providerId="ADAL" clId="{E660630E-4995-45C2-AFF3-5A65AAC8FD5B}" dt="2021-07-07T17:38:55.160" v="1148" actId="1038"/>
          <ac:picMkLst>
            <pc:docMk/>
            <pc:sldMk cId="1918673350" sldId="2055"/>
            <ac:picMk id="5" creationId="{F7AE9886-1B4A-4904-B471-14CD4A2669F7}"/>
          </ac:picMkLst>
        </pc:picChg>
        <pc:picChg chg="add mod">
          <ac:chgData name="Arney, Dale C. (LARC-E402)" userId="976f669d-712a-4a9a-aa4a-4ae99a7806d0" providerId="ADAL" clId="{E660630E-4995-45C2-AFF3-5A65AAC8FD5B}" dt="2021-07-07T17:38:55.160" v="1148" actId="1038"/>
          <ac:picMkLst>
            <pc:docMk/>
            <pc:sldMk cId="1918673350" sldId="2055"/>
            <ac:picMk id="6" creationId="{6768B17D-5F40-4515-B5CC-A674FACEE375}"/>
          </ac:picMkLst>
        </pc:picChg>
        <pc:picChg chg="add mod">
          <ac:chgData name="Arney, Dale C. (LARC-E402)" userId="976f669d-712a-4a9a-aa4a-4ae99a7806d0" providerId="ADAL" clId="{E660630E-4995-45C2-AFF3-5A65AAC8FD5B}" dt="2021-07-07T17:38:55.160" v="1148" actId="1038"/>
          <ac:picMkLst>
            <pc:docMk/>
            <pc:sldMk cId="1918673350" sldId="2055"/>
            <ac:picMk id="7" creationId="{8F0A51A5-CBE1-4EFE-AB58-FDB3689DAF67}"/>
          </ac:picMkLst>
        </pc:picChg>
        <pc:picChg chg="add mod">
          <ac:chgData name="Arney, Dale C. (LARC-E402)" userId="976f669d-712a-4a9a-aa4a-4ae99a7806d0" providerId="ADAL" clId="{E660630E-4995-45C2-AFF3-5A65AAC8FD5B}" dt="2021-07-07T17:38:55.160" v="1148" actId="1038"/>
          <ac:picMkLst>
            <pc:docMk/>
            <pc:sldMk cId="1918673350" sldId="2055"/>
            <ac:picMk id="8" creationId="{1F419D6A-9505-4988-B046-CB103280A536}"/>
          </ac:picMkLst>
        </pc:picChg>
      </pc:sldChg>
      <pc:sldChg chg="addSp delSp modSp add">
        <pc:chgData name="Arney, Dale C. (LARC-E402)" userId="976f669d-712a-4a9a-aa4a-4ae99a7806d0" providerId="ADAL" clId="{E660630E-4995-45C2-AFF3-5A65AAC8FD5B}" dt="2021-07-07T17:50:24.935" v="1333" actId="20577"/>
        <pc:sldMkLst>
          <pc:docMk/>
          <pc:sldMk cId="1100722743" sldId="2056"/>
        </pc:sldMkLst>
        <pc:spChg chg="mod">
          <ac:chgData name="Arney, Dale C. (LARC-E402)" userId="976f669d-712a-4a9a-aa4a-4ae99a7806d0" providerId="ADAL" clId="{E660630E-4995-45C2-AFF3-5A65AAC8FD5B}" dt="2021-07-07T17:50:24.935" v="1333" actId="20577"/>
          <ac:spMkLst>
            <pc:docMk/>
            <pc:sldMk cId="1100722743" sldId="2056"/>
            <ac:spMk id="2" creationId="{B02FD2F6-DEF2-418B-9AFF-44D2E46A36DC}"/>
          </ac:spMkLst>
        </pc:spChg>
        <pc:spChg chg="del mod">
          <ac:chgData name="Arney, Dale C. (LARC-E402)" userId="976f669d-712a-4a9a-aa4a-4ae99a7806d0" providerId="ADAL" clId="{E660630E-4995-45C2-AFF3-5A65AAC8FD5B}" dt="2021-07-07T17:48:09.069" v="1291" actId="478"/>
          <ac:spMkLst>
            <pc:docMk/>
            <pc:sldMk cId="1100722743" sldId="2056"/>
            <ac:spMk id="3" creationId="{2257A049-D75B-40D9-90A8-86A615505D43}"/>
          </ac:spMkLst>
        </pc:spChg>
        <pc:spChg chg="add del mod">
          <ac:chgData name="Arney, Dale C. (LARC-E402)" userId="976f669d-712a-4a9a-aa4a-4ae99a7806d0" providerId="ADAL" clId="{E660630E-4995-45C2-AFF3-5A65AAC8FD5B}" dt="2021-07-07T17:48:11.644" v="1292" actId="478"/>
          <ac:spMkLst>
            <pc:docMk/>
            <pc:sldMk cId="1100722743" sldId="2056"/>
            <ac:spMk id="6" creationId="{81E0134E-494C-4DC6-84A5-236C103BB36E}"/>
          </ac:spMkLst>
        </pc:spChg>
        <pc:grpChg chg="add mod">
          <ac:chgData name="Arney, Dale C. (LARC-E402)" userId="976f669d-712a-4a9a-aa4a-4ae99a7806d0" providerId="ADAL" clId="{E660630E-4995-45C2-AFF3-5A65AAC8FD5B}" dt="2021-07-07T17:49:14.403" v="1305" actId="1076"/>
          <ac:grpSpMkLst>
            <pc:docMk/>
            <pc:sldMk cId="1100722743" sldId="2056"/>
            <ac:grpSpMk id="12" creationId="{5B80756B-5003-4B1D-B846-E1F1586004F0}"/>
          </ac:grpSpMkLst>
        </pc:grpChg>
        <pc:picChg chg="add mod">
          <ac:chgData name="Arney, Dale C. (LARC-E402)" userId="976f669d-712a-4a9a-aa4a-4ae99a7806d0" providerId="ADAL" clId="{E660630E-4995-45C2-AFF3-5A65AAC8FD5B}" dt="2021-07-07T17:49:44.797" v="1311" actId="12788"/>
          <ac:picMkLst>
            <pc:docMk/>
            <pc:sldMk cId="1100722743" sldId="2056"/>
            <ac:picMk id="7" creationId="{BFC36EAC-0E12-4801-9E3A-BEE52443FF06}"/>
          </ac:picMkLst>
        </pc:picChg>
        <pc:picChg chg="add mod">
          <ac:chgData name="Arney, Dale C. (LARC-E402)" userId="976f669d-712a-4a9a-aa4a-4ae99a7806d0" providerId="ADAL" clId="{E660630E-4995-45C2-AFF3-5A65AAC8FD5B}" dt="2021-07-07T17:49:14.403" v="1305" actId="1076"/>
          <ac:picMkLst>
            <pc:docMk/>
            <pc:sldMk cId="1100722743" sldId="2056"/>
            <ac:picMk id="8" creationId="{732BF7F4-C606-4DEA-90E1-2A43BF66DB6C}"/>
          </ac:picMkLst>
        </pc:picChg>
        <pc:picChg chg="add mod">
          <ac:chgData name="Arney, Dale C. (LARC-E402)" userId="976f669d-712a-4a9a-aa4a-4ae99a7806d0" providerId="ADAL" clId="{E660630E-4995-45C2-AFF3-5A65AAC8FD5B}" dt="2021-07-07T17:49:14.403" v="1305" actId="1076"/>
          <ac:picMkLst>
            <pc:docMk/>
            <pc:sldMk cId="1100722743" sldId="2056"/>
            <ac:picMk id="9" creationId="{EA1FB9C1-F2C0-4FEA-A20C-36B6225F06BB}"/>
          </ac:picMkLst>
        </pc:picChg>
        <pc:picChg chg="add mod">
          <ac:chgData name="Arney, Dale C. (LARC-E402)" userId="976f669d-712a-4a9a-aa4a-4ae99a7806d0" providerId="ADAL" clId="{E660630E-4995-45C2-AFF3-5A65AAC8FD5B}" dt="2021-07-07T17:49:26.025" v="1307" actId="465"/>
          <ac:picMkLst>
            <pc:docMk/>
            <pc:sldMk cId="1100722743" sldId="2056"/>
            <ac:picMk id="10" creationId="{C84BE407-BD5E-47C1-B3DD-007FC23B2521}"/>
          </ac:picMkLst>
        </pc:picChg>
        <pc:picChg chg="add mod">
          <ac:chgData name="Arney, Dale C. (LARC-E402)" userId="976f669d-712a-4a9a-aa4a-4ae99a7806d0" providerId="ADAL" clId="{E660630E-4995-45C2-AFF3-5A65AAC8FD5B}" dt="2021-07-07T17:49:26.025" v="1307" actId="465"/>
          <ac:picMkLst>
            <pc:docMk/>
            <pc:sldMk cId="1100722743" sldId="2056"/>
            <ac:picMk id="11" creationId="{CB85778E-EE99-4CD4-9AA3-DF0AB6F8CEF9}"/>
          </ac:picMkLst>
        </pc:picChg>
        <pc:picChg chg="add mod">
          <ac:chgData name="Arney, Dale C. (LARC-E402)" userId="976f669d-712a-4a9a-aa4a-4ae99a7806d0" providerId="ADAL" clId="{E660630E-4995-45C2-AFF3-5A65AAC8FD5B}" dt="2021-07-07T17:49:14.403" v="1305" actId="1076"/>
          <ac:picMkLst>
            <pc:docMk/>
            <pc:sldMk cId="1100722743" sldId="2056"/>
            <ac:picMk id="15" creationId="{89BA2F7F-F190-4127-88D6-2DFB38C6CBDC}"/>
          </ac:picMkLst>
        </pc:picChg>
        <pc:picChg chg="add mod">
          <ac:chgData name="Arney, Dale C. (LARC-E402)" userId="976f669d-712a-4a9a-aa4a-4ae99a7806d0" providerId="ADAL" clId="{E660630E-4995-45C2-AFF3-5A65AAC8FD5B}" dt="2021-07-07T17:49:26.025" v="1307" actId="465"/>
          <ac:picMkLst>
            <pc:docMk/>
            <pc:sldMk cId="1100722743" sldId="2056"/>
            <ac:picMk id="16" creationId="{88DD20E9-77B4-493E-B9E0-CF45BF6E9C77}"/>
          </ac:picMkLst>
        </pc:picChg>
        <pc:picChg chg="add mod">
          <ac:chgData name="Arney, Dale C. (LARC-E402)" userId="976f669d-712a-4a9a-aa4a-4ae99a7806d0" providerId="ADAL" clId="{E660630E-4995-45C2-AFF3-5A65AAC8FD5B}" dt="2021-07-07T17:49:26.025" v="1307" actId="465"/>
          <ac:picMkLst>
            <pc:docMk/>
            <pc:sldMk cId="1100722743" sldId="2056"/>
            <ac:picMk id="17" creationId="{00C6D27C-9A5D-459F-8EA7-73A77E926970}"/>
          </ac:picMkLst>
        </pc:picChg>
        <pc:picChg chg="add mod">
          <ac:chgData name="Arney, Dale C. (LARC-E402)" userId="976f669d-712a-4a9a-aa4a-4ae99a7806d0" providerId="ADAL" clId="{E660630E-4995-45C2-AFF3-5A65AAC8FD5B}" dt="2021-07-07T17:49:14.403" v="1305" actId="1076"/>
          <ac:picMkLst>
            <pc:docMk/>
            <pc:sldMk cId="1100722743" sldId="2056"/>
            <ac:picMk id="18" creationId="{38C82D58-4FE8-4B76-82BC-9830E55F3729}"/>
          </ac:picMkLst>
        </pc:picChg>
      </pc:sldChg>
      <pc:sldMasterChg chg="del delSldLayout">
        <pc:chgData name="Arney, Dale C. (LARC-E402)" userId="976f669d-712a-4a9a-aa4a-4ae99a7806d0" providerId="ADAL" clId="{E660630E-4995-45C2-AFF3-5A65AAC8FD5B}" dt="2021-07-07T13:29:30.710" v="96" actId="2696"/>
        <pc:sldMasterMkLst>
          <pc:docMk/>
          <pc:sldMasterMk cId="1390572966" sldId="2147483682"/>
        </pc:sldMasterMkLst>
        <pc:sldLayoutChg chg="del">
          <pc:chgData name="Arney, Dale C. (LARC-E402)" userId="976f669d-712a-4a9a-aa4a-4ae99a7806d0" providerId="ADAL" clId="{E660630E-4995-45C2-AFF3-5A65AAC8FD5B}" dt="2021-07-07T13:29:30.701" v="89" actId="2696"/>
          <pc:sldLayoutMkLst>
            <pc:docMk/>
            <pc:sldMasterMk cId="1390572966" sldId="2147483682"/>
            <pc:sldLayoutMk cId="2551163344" sldId="2147483683"/>
          </pc:sldLayoutMkLst>
        </pc:sldLayoutChg>
        <pc:sldLayoutChg chg="del">
          <pc:chgData name="Arney, Dale C. (LARC-E402)" userId="976f669d-712a-4a9a-aa4a-4ae99a7806d0" providerId="ADAL" clId="{E660630E-4995-45C2-AFF3-5A65AAC8FD5B}" dt="2021-07-07T13:29:30.701" v="90" actId="2696"/>
          <pc:sldLayoutMkLst>
            <pc:docMk/>
            <pc:sldMasterMk cId="1390572966" sldId="2147483682"/>
            <pc:sldLayoutMk cId="1068198554" sldId="2147483684"/>
          </pc:sldLayoutMkLst>
        </pc:sldLayoutChg>
        <pc:sldLayoutChg chg="del">
          <pc:chgData name="Arney, Dale C. (LARC-E402)" userId="976f669d-712a-4a9a-aa4a-4ae99a7806d0" providerId="ADAL" clId="{E660630E-4995-45C2-AFF3-5A65AAC8FD5B}" dt="2021-07-07T13:29:30.702" v="91" actId="2696"/>
          <pc:sldLayoutMkLst>
            <pc:docMk/>
            <pc:sldMasterMk cId="1390572966" sldId="2147483682"/>
            <pc:sldLayoutMk cId="2118683256" sldId="2147483685"/>
          </pc:sldLayoutMkLst>
        </pc:sldLayoutChg>
        <pc:sldLayoutChg chg="del">
          <pc:chgData name="Arney, Dale C. (LARC-E402)" userId="976f669d-712a-4a9a-aa4a-4ae99a7806d0" providerId="ADAL" clId="{E660630E-4995-45C2-AFF3-5A65AAC8FD5B}" dt="2021-07-07T13:29:30.703" v="92" actId="2696"/>
          <pc:sldLayoutMkLst>
            <pc:docMk/>
            <pc:sldMasterMk cId="1390572966" sldId="2147483682"/>
            <pc:sldLayoutMk cId="3966174807" sldId="2147483686"/>
          </pc:sldLayoutMkLst>
        </pc:sldLayoutChg>
        <pc:sldLayoutChg chg="del">
          <pc:chgData name="Arney, Dale C. (LARC-E402)" userId="976f669d-712a-4a9a-aa4a-4ae99a7806d0" providerId="ADAL" clId="{E660630E-4995-45C2-AFF3-5A65AAC8FD5B}" dt="2021-07-07T13:29:30.704" v="93" actId="2696"/>
          <pc:sldLayoutMkLst>
            <pc:docMk/>
            <pc:sldMasterMk cId="1390572966" sldId="2147483682"/>
            <pc:sldLayoutMk cId="368455642" sldId="2147483687"/>
          </pc:sldLayoutMkLst>
        </pc:sldLayoutChg>
        <pc:sldLayoutChg chg="del">
          <pc:chgData name="Arney, Dale C. (LARC-E402)" userId="976f669d-712a-4a9a-aa4a-4ae99a7806d0" providerId="ADAL" clId="{E660630E-4995-45C2-AFF3-5A65AAC8FD5B}" dt="2021-07-07T13:29:30.705" v="94" actId="2696"/>
          <pc:sldLayoutMkLst>
            <pc:docMk/>
            <pc:sldMasterMk cId="1390572966" sldId="2147483682"/>
            <pc:sldLayoutMk cId="3843684630" sldId="2147483688"/>
          </pc:sldLayoutMkLst>
        </pc:sldLayoutChg>
        <pc:sldLayoutChg chg="del">
          <pc:chgData name="Arney, Dale C. (LARC-E402)" userId="976f669d-712a-4a9a-aa4a-4ae99a7806d0" providerId="ADAL" clId="{E660630E-4995-45C2-AFF3-5A65AAC8FD5B}" dt="2021-07-07T13:29:30.707" v="95" actId="2696"/>
          <pc:sldLayoutMkLst>
            <pc:docMk/>
            <pc:sldMasterMk cId="1390572966" sldId="2147483682"/>
            <pc:sldLayoutMk cId="1172381228" sldId="2147483689"/>
          </pc:sldLayoutMkLst>
        </pc:sldLayoutChg>
      </pc:sldMasterChg>
    </pc:docChg>
  </pc:docChgLst>
  <pc:docChgLst>
    <pc:chgData name="Arney, Dale C. (LARC-E402)" userId="976f669d-712a-4a9a-aa4a-4ae99a7806d0" providerId="ADAL" clId="{ADCBFEEC-6C58-492C-91B5-A4D1ED5AA803}"/>
    <pc:docChg chg="undo modSld">
      <pc:chgData name="Arney, Dale C. (LARC-E402)" userId="976f669d-712a-4a9a-aa4a-4ae99a7806d0" providerId="ADAL" clId="{ADCBFEEC-6C58-492C-91B5-A4D1ED5AA803}" dt="2021-07-12T12:23:58.803" v="83" actId="20577"/>
      <pc:docMkLst>
        <pc:docMk/>
      </pc:docMkLst>
      <pc:sldChg chg="addSp modSp">
        <pc:chgData name="Arney, Dale C. (LARC-E402)" userId="976f669d-712a-4a9a-aa4a-4ae99a7806d0" providerId="ADAL" clId="{ADCBFEEC-6C58-492C-91B5-A4D1ED5AA803}" dt="2021-07-12T12:21:41.354" v="50" actId="1076"/>
        <pc:sldMkLst>
          <pc:docMk/>
          <pc:sldMk cId="2807910172" sldId="256"/>
        </pc:sldMkLst>
        <pc:spChg chg="add mod">
          <ac:chgData name="Arney, Dale C. (LARC-E402)" userId="976f669d-712a-4a9a-aa4a-4ae99a7806d0" providerId="ADAL" clId="{ADCBFEEC-6C58-492C-91B5-A4D1ED5AA803}" dt="2021-07-12T12:21:20.458" v="47" actId="1076"/>
          <ac:spMkLst>
            <pc:docMk/>
            <pc:sldMk cId="2807910172" sldId="256"/>
            <ac:spMk id="7" creationId="{177D5A9B-E5D0-4426-B0A5-C47455F4A181}"/>
          </ac:spMkLst>
        </pc:spChg>
        <pc:spChg chg="add mod">
          <ac:chgData name="Arney, Dale C. (LARC-E402)" userId="976f669d-712a-4a9a-aa4a-4ae99a7806d0" providerId="ADAL" clId="{ADCBFEEC-6C58-492C-91B5-A4D1ED5AA803}" dt="2021-07-12T12:21:41.354" v="50" actId="1076"/>
          <ac:spMkLst>
            <pc:docMk/>
            <pc:sldMk cId="2807910172" sldId="256"/>
            <ac:spMk id="9" creationId="{FC5A2B4A-2A43-4835-9905-5559423945B8}"/>
          </ac:spMkLst>
        </pc:spChg>
      </pc:sldChg>
      <pc:sldChg chg="addSp modSp">
        <pc:chgData name="Arney, Dale C. (LARC-E402)" userId="976f669d-712a-4a9a-aa4a-4ae99a7806d0" providerId="ADAL" clId="{ADCBFEEC-6C58-492C-91B5-A4D1ED5AA803}" dt="2021-07-12T12:22:30.910" v="60" actId="1076"/>
        <pc:sldMkLst>
          <pc:docMk/>
          <pc:sldMk cId="3210463797" sldId="263"/>
        </pc:sldMkLst>
        <pc:spChg chg="add mod">
          <ac:chgData name="Arney, Dale C. (LARC-E402)" userId="976f669d-712a-4a9a-aa4a-4ae99a7806d0" providerId="ADAL" clId="{ADCBFEEC-6C58-492C-91B5-A4D1ED5AA803}" dt="2021-07-12T12:22:30.910" v="60" actId="1076"/>
          <ac:spMkLst>
            <pc:docMk/>
            <pc:sldMk cId="3210463797" sldId="263"/>
            <ac:spMk id="6" creationId="{595C470C-D956-42FF-8603-9CEF7B96F881}"/>
          </ac:spMkLst>
        </pc:spChg>
      </pc:sldChg>
      <pc:sldChg chg="addSp">
        <pc:chgData name="Arney, Dale C. (LARC-E402)" userId="976f669d-712a-4a9a-aa4a-4ae99a7806d0" providerId="ADAL" clId="{ADCBFEEC-6C58-492C-91B5-A4D1ED5AA803}" dt="2021-07-12T12:22:37.280" v="61"/>
        <pc:sldMkLst>
          <pc:docMk/>
          <pc:sldMk cId="193071225" sldId="264"/>
        </pc:sldMkLst>
        <pc:spChg chg="add">
          <ac:chgData name="Arney, Dale C. (LARC-E402)" userId="976f669d-712a-4a9a-aa4a-4ae99a7806d0" providerId="ADAL" clId="{ADCBFEEC-6C58-492C-91B5-A4D1ED5AA803}" dt="2021-07-12T12:22:37.280" v="61"/>
          <ac:spMkLst>
            <pc:docMk/>
            <pc:sldMk cId="193071225" sldId="264"/>
            <ac:spMk id="5" creationId="{9E5FE113-CDDA-4DDC-9CCE-7FE8B6F9B283}"/>
          </ac:spMkLst>
        </pc:spChg>
      </pc:sldChg>
      <pc:sldChg chg="addSp modSp">
        <pc:chgData name="Arney, Dale C. (LARC-E402)" userId="976f669d-712a-4a9a-aa4a-4ae99a7806d0" providerId="ADAL" clId="{ADCBFEEC-6C58-492C-91B5-A4D1ED5AA803}" dt="2021-07-12T12:22:20.377" v="57" actId="571"/>
        <pc:sldMkLst>
          <pc:docMk/>
          <pc:sldMk cId="3982552280" sldId="302"/>
        </pc:sldMkLst>
        <pc:spChg chg="add mod">
          <ac:chgData name="Arney, Dale C. (LARC-E402)" userId="976f669d-712a-4a9a-aa4a-4ae99a7806d0" providerId="ADAL" clId="{ADCBFEEC-6C58-492C-91B5-A4D1ED5AA803}" dt="2021-07-12T12:22:16.754" v="56" actId="1076"/>
          <ac:spMkLst>
            <pc:docMk/>
            <pc:sldMk cId="3982552280" sldId="302"/>
            <ac:spMk id="35" creationId="{8DCE78B0-DF31-4014-81F1-CB55599E98AC}"/>
          </ac:spMkLst>
        </pc:spChg>
        <pc:spChg chg="add mod">
          <ac:chgData name="Arney, Dale C. (LARC-E402)" userId="976f669d-712a-4a9a-aa4a-4ae99a7806d0" providerId="ADAL" clId="{ADCBFEEC-6C58-492C-91B5-A4D1ED5AA803}" dt="2021-07-12T12:22:20.377" v="57" actId="571"/>
          <ac:spMkLst>
            <pc:docMk/>
            <pc:sldMk cId="3982552280" sldId="302"/>
            <ac:spMk id="38" creationId="{D01F0F47-D8C3-4FDB-8547-FBD264786F7A}"/>
          </ac:spMkLst>
        </pc:spChg>
      </pc:sldChg>
      <pc:sldChg chg="addSp modSp">
        <pc:chgData name="Arney, Dale C. (LARC-E402)" userId="976f669d-712a-4a9a-aa4a-4ae99a7806d0" providerId="ADAL" clId="{ADCBFEEC-6C58-492C-91B5-A4D1ED5AA803}" dt="2021-07-12T12:21:57.931" v="53" actId="20577"/>
        <pc:sldMkLst>
          <pc:docMk/>
          <pc:sldMk cId="1775896203" sldId="391"/>
        </pc:sldMkLst>
        <pc:spChg chg="mod">
          <ac:chgData name="Arney, Dale C. (LARC-E402)" userId="976f669d-712a-4a9a-aa4a-4ae99a7806d0" providerId="ADAL" clId="{ADCBFEEC-6C58-492C-91B5-A4D1ED5AA803}" dt="2021-07-09T14:09:21.737" v="9" actId="20577"/>
          <ac:spMkLst>
            <pc:docMk/>
            <pc:sldMk cId="1775896203" sldId="391"/>
            <ac:spMk id="82" creationId="{5678327D-0676-3546-A99F-380254F7E528}"/>
          </ac:spMkLst>
        </pc:spChg>
        <pc:spChg chg="add mod">
          <ac:chgData name="Arney, Dale C. (LARC-E402)" userId="976f669d-712a-4a9a-aa4a-4ae99a7806d0" providerId="ADAL" clId="{ADCBFEEC-6C58-492C-91B5-A4D1ED5AA803}" dt="2021-07-12T12:21:57.931" v="53" actId="20577"/>
          <ac:spMkLst>
            <pc:docMk/>
            <pc:sldMk cId="1775896203" sldId="391"/>
            <ac:spMk id="83" creationId="{BEED8EBF-BD80-4E42-9672-BBC8B8E693EA}"/>
          </ac:spMkLst>
        </pc:spChg>
        <pc:spChg chg="mod">
          <ac:chgData name="Arney, Dale C. (LARC-E402)" userId="976f669d-712a-4a9a-aa4a-4ae99a7806d0" providerId="ADAL" clId="{ADCBFEEC-6C58-492C-91B5-A4D1ED5AA803}" dt="2021-07-09T14:05:26.729" v="3" actId="20577"/>
          <ac:spMkLst>
            <pc:docMk/>
            <pc:sldMk cId="1775896203" sldId="391"/>
            <ac:spMk id="85" creationId="{0AD9E5CF-56DA-8845-A24A-1BC416B52A2E}"/>
          </ac:spMkLst>
        </pc:spChg>
        <pc:spChg chg="mod">
          <ac:chgData name="Arney, Dale C. (LARC-E402)" userId="976f669d-712a-4a9a-aa4a-4ae99a7806d0" providerId="ADAL" clId="{ADCBFEEC-6C58-492C-91B5-A4D1ED5AA803}" dt="2021-07-09T14:05:22.419" v="1" actId="20577"/>
          <ac:spMkLst>
            <pc:docMk/>
            <pc:sldMk cId="1775896203" sldId="391"/>
            <ac:spMk id="88" creationId="{BAB3F775-192D-A74A-8D84-ED377B5C4AA3}"/>
          </ac:spMkLst>
        </pc:spChg>
        <pc:spChg chg="mod">
          <ac:chgData name="Arney, Dale C. (LARC-E402)" userId="976f669d-712a-4a9a-aa4a-4ae99a7806d0" providerId="ADAL" clId="{ADCBFEEC-6C58-492C-91B5-A4D1ED5AA803}" dt="2021-07-09T14:05:29.897" v="5" actId="20577"/>
          <ac:spMkLst>
            <pc:docMk/>
            <pc:sldMk cId="1775896203" sldId="391"/>
            <ac:spMk id="96" creationId="{37175255-B46A-4F0F-8E22-547B7B2E4DC3}"/>
          </ac:spMkLst>
        </pc:spChg>
      </pc:sldChg>
      <pc:sldChg chg="addSp modSp">
        <pc:chgData name="Arney, Dale C. (LARC-E402)" userId="976f669d-712a-4a9a-aa4a-4ae99a7806d0" providerId="ADAL" clId="{ADCBFEEC-6C58-492C-91B5-A4D1ED5AA803}" dt="2021-07-12T12:23:58.803" v="83" actId="20577"/>
        <pc:sldMkLst>
          <pc:docMk/>
          <pc:sldMk cId="1621443886" sldId="834"/>
        </pc:sldMkLst>
        <pc:spChg chg="add mod">
          <ac:chgData name="Arney, Dale C. (LARC-E402)" userId="976f669d-712a-4a9a-aa4a-4ae99a7806d0" providerId="ADAL" clId="{ADCBFEEC-6C58-492C-91B5-A4D1ED5AA803}" dt="2021-07-12T12:23:58.803" v="83" actId="20577"/>
          <ac:spMkLst>
            <pc:docMk/>
            <pc:sldMk cId="1621443886" sldId="834"/>
            <ac:spMk id="12" creationId="{0C116885-9838-41F0-BB8F-AC8F97E71F37}"/>
          </ac:spMkLst>
        </pc:spChg>
      </pc:sldChg>
      <pc:sldChg chg="addSp modSp">
        <pc:chgData name="Arney, Dale C. (LARC-E402)" userId="976f669d-712a-4a9a-aa4a-4ae99a7806d0" providerId="ADAL" clId="{ADCBFEEC-6C58-492C-91B5-A4D1ED5AA803}" dt="2021-07-12T12:22:41.529" v="63" actId="207"/>
        <pc:sldMkLst>
          <pc:docMk/>
          <pc:sldMk cId="123941553" sldId="840"/>
        </pc:sldMkLst>
        <pc:spChg chg="add mod">
          <ac:chgData name="Arney, Dale C. (LARC-E402)" userId="976f669d-712a-4a9a-aa4a-4ae99a7806d0" providerId="ADAL" clId="{ADCBFEEC-6C58-492C-91B5-A4D1ED5AA803}" dt="2021-07-12T12:22:41.529" v="63" actId="207"/>
          <ac:spMkLst>
            <pc:docMk/>
            <pc:sldMk cId="123941553" sldId="840"/>
            <ac:spMk id="5" creationId="{C5978438-197A-4E93-A11F-E9D49E761962}"/>
          </ac:spMkLst>
        </pc:spChg>
      </pc:sldChg>
      <pc:sldChg chg="addSp modSp">
        <pc:chgData name="Arney, Dale C. (LARC-E402)" userId="976f669d-712a-4a9a-aa4a-4ae99a7806d0" providerId="ADAL" clId="{ADCBFEEC-6C58-492C-91B5-A4D1ED5AA803}" dt="2021-07-12T12:23:16.715" v="72" actId="20577"/>
        <pc:sldMkLst>
          <pc:docMk/>
          <pc:sldMk cId="3210426827" sldId="2053"/>
        </pc:sldMkLst>
        <pc:spChg chg="add mod">
          <ac:chgData name="Arney, Dale C. (LARC-E402)" userId="976f669d-712a-4a9a-aa4a-4ae99a7806d0" providerId="ADAL" clId="{ADCBFEEC-6C58-492C-91B5-A4D1ED5AA803}" dt="2021-07-12T12:23:16.715" v="72" actId="20577"/>
          <ac:spMkLst>
            <pc:docMk/>
            <pc:sldMk cId="3210426827" sldId="2053"/>
            <ac:spMk id="17" creationId="{C5ACA46F-66B2-4C76-9426-63225E852A94}"/>
          </ac:spMkLst>
        </pc:spChg>
      </pc:sldChg>
      <pc:sldChg chg="addSp modSp">
        <pc:chgData name="Arney, Dale C. (LARC-E402)" userId="976f669d-712a-4a9a-aa4a-4ae99a7806d0" providerId="ADAL" clId="{ADCBFEEC-6C58-492C-91B5-A4D1ED5AA803}" dt="2021-07-12T12:23:40.068" v="77" actId="207"/>
        <pc:sldMkLst>
          <pc:docMk/>
          <pc:sldMk cId="525953628" sldId="2054"/>
        </pc:sldMkLst>
        <pc:spChg chg="add mod">
          <ac:chgData name="Arney, Dale C. (LARC-E402)" userId="976f669d-712a-4a9a-aa4a-4ae99a7806d0" providerId="ADAL" clId="{ADCBFEEC-6C58-492C-91B5-A4D1ED5AA803}" dt="2021-07-12T12:23:40.068" v="77" actId="207"/>
          <ac:spMkLst>
            <pc:docMk/>
            <pc:sldMk cId="525953628" sldId="2054"/>
            <ac:spMk id="14" creationId="{B4272930-1EF9-4DFC-8915-80AB171837C6}"/>
          </ac:spMkLst>
        </pc:spChg>
      </pc:sldChg>
      <pc:sldChg chg="addSp modSp">
        <pc:chgData name="Arney, Dale C. (LARC-E402)" userId="976f669d-712a-4a9a-aa4a-4ae99a7806d0" providerId="ADAL" clId="{ADCBFEEC-6C58-492C-91B5-A4D1ED5AA803}" dt="2021-07-12T12:23:50.212" v="80" actId="20577"/>
        <pc:sldMkLst>
          <pc:docMk/>
          <pc:sldMk cId="1918673350" sldId="2055"/>
        </pc:sldMkLst>
        <pc:spChg chg="add mod">
          <ac:chgData name="Arney, Dale C. (LARC-E402)" userId="976f669d-712a-4a9a-aa4a-4ae99a7806d0" providerId="ADAL" clId="{ADCBFEEC-6C58-492C-91B5-A4D1ED5AA803}" dt="2021-07-12T12:23:50.212" v="80" actId="20577"/>
          <ac:spMkLst>
            <pc:docMk/>
            <pc:sldMk cId="1918673350" sldId="2055"/>
            <ac:spMk id="9" creationId="{C8587CC3-D3A1-4AB6-BF3F-836B9A886D10}"/>
          </ac:spMkLst>
        </pc:spChg>
      </pc:sldChg>
      <pc:sldChg chg="addSp modSp">
        <pc:chgData name="Arney, Dale C. (LARC-E402)" userId="976f669d-712a-4a9a-aa4a-4ae99a7806d0" providerId="ADAL" clId="{ADCBFEEC-6C58-492C-91B5-A4D1ED5AA803}" dt="2021-07-12T12:23:06.817" v="69" actId="1076"/>
        <pc:sldMkLst>
          <pc:docMk/>
          <pc:sldMk cId="1100722743" sldId="2056"/>
        </pc:sldMkLst>
        <pc:spChg chg="add mod">
          <ac:chgData name="Arney, Dale C. (LARC-E402)" userId="976f669d-712a-4a9a-aa4a-4ae99a7806d0" providerId="ADAL" clId="{ADCBFEEC-6C58-492C-91B5-A4D1ED5AA803}" dt="2021-07-12T12:23:06.817" v="69" actId="1076"/>
          <ac:spMkLst>
            <pc:docMk/>
            <pc:sldMk cId="1100722743" sldId="2056"/>
            <ac:spMk id="19" creationId="{C3E73551-38AD-4412-9F0E-8AA6328C7DBC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4B5927-BAFA-4C2F-8452-C75B45B138B2}" type="datetimeFigureOut">
              <a:rPr lang="en-US" smtClean="0"/>
              <a:t>7/12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DEB98F-D19E-4B51-BA2C-7F4A9947A2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91763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FK8gD5PY-Ng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DEB98F-D19E-4B51-BA2C-7F4A9947A2A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1102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SAM-1 and OSAM-2 are demonstrating manufacturing in a vacuum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DEB98F-D19E-4B51-BA2C-7F4A9947A2AB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29253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bg1"/>
                </a:solidFill>
              </a:rPr>
              <a:t>OSAM is the foundation for sustainable lunar exploration. It enables reusable, multi-purpose, reconfigurable systems and enables Earth independent spares and logistics.</a:t>
            </a:r>
          </a:p>
          <a:p>
            <a:pPr marL="0" indent="0">
              <a:buNone/>
            </a:pPr>
            <a:r>
              <a:rPr lang="en-US" b="1" dirty="0"/>
              <a:t>Lightweight Surface Manipulator System (LSMS)</a:t>
            </a:r>
            <a:r>
              <a:rPr lang="en-US" dirty="0"/>
              <a:t> capable of offloading payload and supporting surface operations</a:t>
            </a:r>
          </a:p>
          <a:p>
            <a:pPr marL="0" indent="0">
              <a:buNone/>
            </a:pPr>
            <a:r>
              <a:rPr lang="en-US" dirty="0"/>
              <a:t>Scalable from CLPS payloads to human-scale land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afe Haven; Power Generation; Launch, landing, and servicing infrastructure; Surface operations,</a:t>
            </a:r>
            <a:r>
              <a:rPr lang="en-US" baseline="0" dirty="0"/>
              <a:t> mobility, navigation, etc.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DEB98F-D19E-4B51-BA2C-7F4A9947A2AB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0938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reate an ecosystem of future capabilities that make humanity a spacefaring civiliz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DEB98F-D19E-4B51-BA2C-7F4A9947A2AB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21828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hart for internal use – remove this one for external us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577BE5-D8BC-4BA0-9CAE-F828AD4BE61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75020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se capabilities are not only necessary for civil space – national security and commercial space are relying on these capabilities to perform their ambitious missions as wel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DEB98F-D19E-4B51-BA2C-7F4A9947A2A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495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acilitate Relationships: 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ild and maintain relationships with commercial, US Government, and other stakeholders to ensure an informed, integrated approach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 and Share Technology: 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 solutions to the most demanding technological challenges and seed the growth of US industry through tech development, sourcing, transfer, and collaboration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age: OSAM-1 (formerly Restore-L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 grapple testing at GSFC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vance New Concepts and Capabilities: 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sign and execute innovative mission concepts that enable breakthroughs in human exploration and science and support broader national objective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age: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-Space Assembled Telescope (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AT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 study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rve as a Knowledge Center: 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 and maintain a repository of data and relationships to ensure broad and consistent awareness of industry and government activity and capabilitie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age: First page of Immortal Spaceship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ession Summary Report (available to public) and Space Science &amp; Technology (S&amp;T) Partnership (AIAA reports available to public)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  <a:p>
            <a:r>
              <a:rPr lang="en-US" dirty="0">
                <a:highlight>
                  <a:srgbClr val="FFFF00"/>
                </a:highlight>
              </a:rPr>
              <a:t>NASA Coordination and activitie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highlight>
                  <a:srgbClr val="FFFF00"/>
                </a:highlight>
              </a:rPr>
              <a:t>LaRC, GSFC, MSFC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highlight>
                  <a:srgbClr val="FFFF00"/>
                </a:highlight>
              </a:rPr>
              <a:t>PT/SCLTs – Bo (RPO/Servicing), Mark (Structures/Assy), Vickers (</a:t>
            </a:r>
            <a:r>
              <a:rPr lang="en-US" dirty="0" err="1">
                <a:highlight>
                  <a:srgbClr val="FFFF00"/>
                </a:highlight>
              </a:rPr>
              <a:t>Mfg</a:t>
            </a:r>
            <a:r>
              <a:rPr lang="en-US" dirty="0">
                <a:highlight>
                  <a:srgbClr val="FFFF00"/>
                </a:highlight>
              </a:rPr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highlight>
                  <a:srgbClr val="FFFF00"/>
                </a:highlight>
              </a:rPr>
              <a:t>OSAM Tech Transfer Day 2019 (GSFC), 2020 (LaRC), 2021 (MSFC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2972B0-3368-461D-BBE1-21CA9FE78A4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2087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ersistent assets that can grow, adapt, and evolve over time – immortal spaceships</a:t>
            </a:r>
          </a:p>
          <a:p>
            <a:endParaRPr lang="en-US" dirty="0"/>
          </a:p>
          <a:p>
            <a:r>
              <a:rPr lang="en-US" dirty="0"/>
              <a:t>Technology</a:t>
            </a:r>
            <a:r>
              <a:rPr lang="en-US" baseline="0" dirty="0"/>
              <a:t> demonstration</a:t>
            </a:r>
          </a:p>
          <a:p>
            <a:r>
              <a:rPr lang="en-US" baseline="0" dirty="0"/>
              <a:t>Persistent observation</a:t>
            </a:r>
          </a:p>
          <a:p>
            <a:r>
              <a:rPr lang="en-US" baseline="0" dirty="0"/>
              <a:t>Robust, resilient systems</a:t>
            </a:r>
          </a:p>
          <a:p>
            <a:endParaRPr lang="en-US" dirty="0"/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ource: NASA RAMSES </a:t>
            </a:r>
            <a:r>
              <a:rPr lang="en-US" dirty="0">
                <a:hlinkClick r:id="rId3"/>
              </a:rPr>
              <a:t>https://youtu.be/FK8gD5PY-Ng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DEB98F-D19E-4B51-BA2C-7F4A9947A2A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133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ild systems larger and more capable than previously feasible within the launch constrai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DEB98F-D19E-4B51-BA2C-7F4A9947A2A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24036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intain and protect crew and systems on the surface</a:t>
            </a:r>
          </a:p>
          <a:p>
            <a:endParaRPr lang="en-US" dirty="0"/>
          </a:p>
          <a:p>
            <a:r>
              <a:rPr lang="en-US" dirty="0"/>
              <a:t>Source: VIDEO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DEB98F-D19E-4B51-BA2C-7F4A9947A2A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01693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Give a flavor of what’s going on in these capability area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DEB98F-D19E-4B51-BA2C-7F4A9947A2A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29499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DEB98F-D19E-4B51-BA2C-7F4A9947A2AB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864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80A67E-10B4-4AEE-8DF4-AABA57478868}" type="datetime1">
              <a:rPr lang="en-US" smtClean="0"/>
              <a:t>7/1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3344966" cy="365125"/>
          </a:xfrm>
        </p:spPr>
        <p:txBody>
          <a:bodyPr/>
          <a:lstStyle/>
          <a:p>
            <a:fld id="{13A45933-0F97-4B24-BC4B-C5BF835C67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53476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3B4CBA-31B5-4DE9-A837-10D2F7E74DE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7/12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769104-B251-2F45-8068-2262482AC1F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1204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87C77-9260-4F80-A11B-C792A7F4ECB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7/12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769104-B251-2F45-8068-2262482AC1F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84917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5AF678-8B90-4835-974E-03C074F7A13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7/12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769104-B251-2F45-8068-2262482AC1F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43679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9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B0D24-B092-47B5-989B-1C5C5FCC4EA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7/12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769104-B251-2F45-8068-2262482AC1F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3719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E481D0-04A8-49A6-9832-CD951D666C7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7/12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769104-B251-2F45-8068-2262482AC1F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80429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2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53186C-955F-4868-A754-676814D16FC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7/12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769104-B251-2F45-8068-2262482AC1F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3135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2700"/>
            <a:ext cx="10972800" cy="1104900"/>
          </a:xfrm>
          <a:prstGeom prst="rect">
            <a:avLst/>
          </a:prstGeom>
        </p:spPr>
        <p:txBody>
          <a:bodyPr lIns="91429" tIns="45714" rIns="91429" bIns="4571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628250"/>
            <a:ext cx="2844800" cy="210205"/>
          </a:xfrm>
          <a:prstGeom prst="rect">
            <a:avLst/>
          </a:prstGeom>
        </p:spPr>
        <p:txBody>
          <a:bodyPr lIns="91429" tIns="45714" rIns="91429" bIns="45714"/>
          <a:lstStyle/>
          <a:p>
            <a:pPr defTabSz="914270"/>
            <a:fld id="{ED4B4290-D617-460B-8DBF-EAA1552BAEAF}" type="datetime1">
              <a:rPr lang="en-US" smtClean="0">
                <a:solidFill>
                  <a:prstClr val="black">
                    <a:tint val="75000"/>
                  </a:prstClr>
                </a:solidFill>
                <a:ea typeface="MS PGothic" charset="0"/>
              </a:rPr>
              <a:t>7/12/2021</a:t>
            </a:fld>
            <a:endParaRPr lang="en-US">
              <a:solidFill>
                <a:prstClr val="black">
                  <a:tint val="75000"/>
                </a:prstClr>
              </a:solidFill>
              <a:ea typeface="MS PGothic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628250"/>
            <a:ext cx="3860800" cy="210205"/>
          </a:xfrm>
          <a:prstGeom prst="rect">
            <a:avLst/>
          </a:prstGeom>
        </p:spPr>
        <p:txBody>
          <a:bodyPr lIns="91429" tIns="45714" rIns="91429" bIns="45714"/>
          <a:lstStyle/>
          <a:p>
            <a:pPr defTabSz="914270"/>
            <a:endParaRPr lang="en-US">
              <a:solidFill>
                <a:prstClr val="black">
                  <a:tint val="75000"/>
                </a:prstClr>
              </a:solidFill>
              <a:ea typeface="MS PGothic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47200" y="6638280"/>
            <a:ext cx="2844800" cy="210205"/>
          </a:xfrm>
          <a:prstGeom prst="rect">
            <a:avLst/>
          </a:prstGeom>
        </p:spPr>
        <p:txBody>
          <a:bodyPr lIns="91429" tIns="45714" rIns="91429" bIns="45714"/>
          <a:lstStyle/>
          <a:p>
            <a:fld id="{87B28F38-D049-5F43-A036-3D1F4DDC4C63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609600" y="1206501"/>
            <a:ext cx="10972800" cy="5416550"/>
          </a:xfrm>
          <a:prstGeom prst="rect">
            <a:avLst/>
          </a:prstGeom>
        </p:spPr>
        <p:txBody>
          <a:bodyPr vert="horz" lIns="91407" tIns="45704" rIns="91407" bIns="45704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335263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2700"/>
            <a:ext cx="10972800" cy="1104900"/>
          </a:xfrm>
          <a:prstGeom prst="rect">
            <a:avLst/>
          </a:prstGeom>
        </p:spPr>
        <p:txBody>
          <a:bodyPr lIns="91429" tIns="45714" rIns="91429" bIns="4571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628244"/>
            <a:ext cx="2844800" cy="210205"/>
          </a:xfrm>
          <a:prstGeom prst="rect">
            <a:avLst/>
          </a:prstGeom>
        </p:spPr>
        <p:txBody>
          <a:bodyPr lIns="91429" tIns="45714" rIns="91429" bIns="45714"/>
          <a:lstStyle/>
          <a:p>
            <a:fld id="{D9E3A7E8-2538-40C5-8402-2E77119EE21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7/12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628244"/>
            <a:ext cx="3860800" cy="210205"/>
          </a:xfrm>
          <a:prstGeom prst="rect">
            <a:avLst/>
          </a:prstGeom>
        </p:spPr>
        <p:txBody>
          <a:bodyPr lIns="91429" tIns="45714" rIns="91429" bIns="45714"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628244"/>
            <a:ext cx="2844800" cy="210205"/>
          </a:xfrm>
          <a:prstGeom prst="rect">
            <a:avLst/>
          </a:prstGeom>
        </p:spPr>
        <p:txBody>
          <a:bodyPr lIns="91429" tIns="45714" rIns="91429" bIns="45714"/>
          <a:lstStyle/>
          <a:p>
            <a:fld id="{87B28F38-D049-5F43-A036-3D1F4DDC4C63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609600" y="1206501"/>
            <a:ext cx="10972800" cy="5416550"/>
          </a:xfrm>
          <a:prstGeom prst="rect">
            <a:avLst/>
          </a:prstGeom>
        </p:spPr>
        <p:txBody>
          <a:bodyPr vert="horz" lIns="91407" tIns="45704" rIns="91407" bIns="45704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21284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16125" y="319367"/>
            <a:ext cx="8451273" cy="508130"/>
          </a:xfrm>
          <a:prstGeom prst="rect">
            <a:avLst/>
          </a:prstGeom>
        </p:spPr>
        <p:txBody>
          <a:bodyPr lIns="0">
            <a:noAutofit/>
          </a:bodyPr>
          <a:lstStyle>
            <a:lvl1pPr algn="l">
              <a:defRPr sz="2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54156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/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bg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-128"/>
                <a:cs typeface="ＭＳ Ｐゴシック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-128"/>
                <a:cs typeface="ＭＳ Ｐゴシック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-128"/>
                <a:cs typeface="ＭＳ Ｐゴシック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-128"/>
                <a:cs typeface="ＭＳ Ｐゴシック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-128"/>
                <a:cs typeface="ＭＳ Ｐゴシック" charset="-128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-128"/>
                <a:cs typeface="ＭＳ Ｐゴシック" charset="-128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-128"/>
                <a:cs typeface="ＭＳ Ｐゴシック" charset="-128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-128"/>
                <a:cs typeface="ＭＳ Ｐゴシック" charset="-128"/>
              </a:defRPr>
            </a:lvl9pPr>
          </a:lstStyle>
          <a:p>
            <a:endParaRPr lang="en-US" sz="3200">
              <a:solidFill>
                <a:srgbClr val="FFFFFF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219200" y="3"/>
            <a:ext cx="9855200" cy="1054385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bg1"/>
                </a:solidFill>
                <a:latin typeface="Helvetica"/>
                <a:cs typeface="Helvetica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684000" y="6719888"/>
            <a:ext cx="508000" cy="138112"/>
          </a:xfrm>
          <a:prstGeom prst="rect">
            <a:avLst/>
          </a:prstGeom>
        </p:spPr>
        <p:txBody>
          <a:bodyPr/>
          <a:lstStyle>
            <a:lvl1pPr algn="r">
              <a:defRPr>
                <a:latin typeface="Calibri"/>
                <a:cs typeface="Calibri"/>
              </a:defRPr>
            </a:lvl1pPr>
          </a:lstStyle>
          <a:p>
            <a:pPr>
              <a:defRPr/>
            </a:pPr>
            <a:fld id="{C4CA8F6E-FEAE-3B4E-B275-17DDD45724F1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dt" sz="half" idx="11"/>
          </p:nvPr>
        </p:nvSpPr>
        <p:spPr>
          <a:xfrm>
            <a:off x="0" y="6719888"/>
            <a:ext cx="1930400" cy="138112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/>
                <a:cs typeface="Calibri"/>
              </a:defRPr>
            </a:lvl1pPr>
          </a:lstStyle>
          <a:p>
            <a:pPr>
              <a:defRPr/>
            </a:pPr>
            <a:fld id="{512E98A0-98A7-4037-825F-3452A31B8BCB}" type="datetime1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7/12/2021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ftr" sz="quarter" idx="12"/>
          </p:nvPr>
        </p:nvSpPr>
        <p:spPr>
          <a:xfrm>
            <a:off x="3111500" y="6719888"/>
            <a:ext cx="5985933" cy="138112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0821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950" y="200025"/>
            <a:ext cx="10353675" cy="962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1949" y="1581150"/>
            <a:ext cx="11591925" cy="45958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61949" y="6356350"/>
            <a:ext cx="3219451" cy="365125"/>
          </a:xfrm>
        </p:spPr>
        <p:txBody>
          <a:bodyPr/>
          <a:lstStyle/>
          <a:p>
            <a:fld id="{B6DDFFFC-B1A2-436B-981F-D1CA0DEC2D7D}" type="datetime1">
              <a:rPr lang="en-US" smtClean="0"/>
              <a:t>7/1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3343274" cy="365125"/>
          </a:xfrm>
        </p:spPr>
        <p:txBody>
          <a:bodyPr/>
          <a:lstStyle/>
          <a:p>
            <a:fld id="{13A45933-0F97-4B24-BC4B-C5BF835C6785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2" descr="Image result for nasa logo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85979" y="136715"/>
            <a:ext cx="1339346" cy="1120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/>
          <p:nvPr/>
        </p:nvCxnSpPr>
        <p:spPr>
          <a:xfrm>
            <a:off x="361950" y="1162050"/>
            <a:ext cx="10353675" cy="0"/>
          </a:xfrm>
          <a:prstGeom prst="line">
            <a:avLst/>
          </a:prstGeom>
          <a:ln w="28575">
            <a:solidFill>
              <a:srgbClr val="0B3D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26601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 userDrawn="1">
  <p:cSld name="Title + 3 columns">
    <p:bg>
      <p:bgPr>
        <a:blipFill dpi="0" rotWithShape="1">
          <a:blip r:embed="rId2">
            <a:lum/>
          </a:blip>
          <a:srcRect/>
          <a:stretch>
            <a:fillRect t="-12000" b="-12000"/>
          </a:stretch>
        </a:blip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8"/>
          <p:cNvSpPr/>
          <p:nvPr/>
        </p:nvSpPr>
        <p:spPr>
          <a:xfrm rot="-5400000" flipH="1">
            <a:off x="5997033" y="-5211696"/>
            <a:ext cx="197600" cy="12192000"/>
          </a:xfrm>
          <a:prstGeom prst="rect">
            <a:avLst/>
          </a:prstGeom>
          <a:gradFill>
            <a:gsLst>
              <a:gs pos="0">
                <a:srgbClr val="000014">
                  <a:alpha val="49803"/>
                </a:srgbClr>
              </a:gs>
              <a:gs pos="100000">
                <a:srgbClr val="000014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 sz="1800">
              <a:solidFill>
                <a:srgbClr val="FFFFFF"/>
              </a:solidFill>
              <a:latin typeface="Raleway" panose="020B0604020202020204" charset="0"/>
              <a:ea typeface="Calibri"/>
              <a:cs typeface="Calibri"/>
              <a:sym typeface="Calibri"/>
            </a:endParaRPr>
          </a:p>
        </p:txBody>
      </p:sp>
      <p:sp>
        <p:nvSpPr>
          <p:cNvPr id="53" name="Google Shape;53;p8"/>
          <p:cNvSpPr/>
          <p:nvPr/>
        </p:nvSpPr>
        <p:spPr>
          <a:xfrm>
            <a:off x="0" y="0"/>
            <a:ext cx="12192000" cy="77192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endParaRPr sz="1800">
              <a:solidFill>
                <a:prstClr val="black"/>
              </a:solidFill>
              <a:latin typeface="Raleway" panose="020B0604020202020204" charset="0"/>
            </a:endParaRPr>
          </a:p>
        </p:txBody>
      </p:sp>
      <p:sp>
        <p:nvSpPr>
          <p:cNvPr id="54" name="Google Shape;54;p8"/>
          <p:cNvSpPr/>
          <p:nvPr/>
        </p:nvSpPr>
        <p:spPr>
          <a:xfrm>
            <a:off x="0" y="1430530"/>
            <a:ext cx="12192000" cy="542747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endParaRPr sz="1800">
              <a:solidFill>
                <a:prstClr val="black"/>
              </a:solidFill>
              <a:latin typeface="Raleway" panose="020B0604020202020204" charset="0"/>
            </a:endParaRPr>
          </a:p>
        </p:txBody>
      </p:sp>
      <p:cxnSp>
        <p:nvCxnSpPr>
          <p:cNvPr id="55" name="Google Shape;55;p8"/>
          <p:cNvCxnSpPr/>
          <p:nvPr/>
        </p:nvCxnSpPr>
        <p:spPr>
          <a:xfrm>
            <a:off x="450800" y="6418233"/>
            <a:ext cx="11290400" cy="0"/>
          </a:xfrm>
          <a:prstGeom prst="straightConnector1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6" name="Google Shape;56;p8"/>
          <p:cNvSpPr txBox="1">
            <a:spLocks noGrp="1"/>
          </p:cNvSpPr>
          <p:nvPr>
            <p:ph type="title"/>
          </p:nvPr>
        </p:nvSpPr>
        <p:spPr>
          <a:xfrm>
            <a:off x="791433" y="0"/>
            <a:ext cx="10608800" cy="77192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1600"/>
              <a:buNone/>
              <a:defRPr>
                <a:latin typeface="Raleway" panose="020B060402020202020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8"/>
          <p:cNvSpPr txBox="1">
            <a:spLocks noGrp="1"/>
          </p:cNvSpPr>
          <p:nvPr>
            <p:ph type="sldNum" idx="12"/>
          </p:nvPr>
        </p:nvSpPr>
        <p:spPr>
          <a:xfrm>
            <a:off x="791433" y="6418333"/>
            <a:ext cx="10608800" cy="439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>
                <a:latin typeface="Raleway" panose="020B0604020202020204" charset="0"/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7050" y="823966"/>
            <a:ext cx="932905" cy="56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57434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950" y="200025"/>
            <a:ext cx="10353675" cy="962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61949" y="6356350"/>
            <a:ext cx="3219451" cy="365125"/>
          </a:xfrm>
        </p:spPr>
        <p:txBody>
          <a:bodyPr/>
          <a:lstStyle/>
          <a:p>
            <a:fld id="{8E967C57-22A1-462A-8413-0BCCCE4639A7}" type="datetime1">
              <a:rPr lang="en-US" smtClean="0"/>
              <a:t>7/1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3343274" cy="365125"/>
          </a:xfrm>
        </p:spPr>
        <p:txBody>
          <a:bodyPr/>
          <a:lstStyle/>
          <a:p>
            <a:fld id="{13A45933-0F97-4B24-BC4B-C5BF835C6785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2" descr="Image result for nasa logo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85979" y="136715"/>
            <a:ext cx="1339346" cy="1120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/>
          <p:nvPr/>
        </p:nvCxnSpPr>
        <p:spPr>
          <a:xfrm>
            <a:off x="361950" y="1162050"/>
            <a:ext cx="10353675" cy="0"/>
          </a:xfrm>
          <a:prstGeom prst="line">
            <a:avLst/>
          </a:prstGeom>
          <a:ln w="28575">
            <a:solidFill>
              <a:srgbClr val="0B3D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77392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6256B-7E33-4EF8-BA4A-E872A868511D}" type="datetime1">
              <a:rPr lang="en-US" smtClean="0"/>
              <a:t>7/12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2A338-ABA5-4225-B0AB-D15EBC6BDD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15145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F280A-A24B-452C-A243-0C54CC040D2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7/12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769104-B251-2F45-8068-2262482AC1F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0172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6600" y="0"/>
            <a:ext cx="10515600" cy="657274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3800" y="1184825"/>
            <a:ext cx="10515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692800" y="6492878"/>
            <a:ext cx="4770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AF769104-B251-2F45-8068-2262482AC1F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98025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232B8-E1C2-466C-BF88-D22117D910A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7/12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769104-B251-2F45-8068-2262482AC1F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6873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5930B1-000B-4B9F-B8FD-A77828FAA6D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7/12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769104-B251-2F45-8068-2262482AC1F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90845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2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DF2C6-83C0-4C23-AA35-003A0A6E6F2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7/12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769104-B251-2F45-8068-2262482AC1F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7175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01064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C64C144-9EE4-4A5C-A0E3-3681A416E417}" type="datetime1">
              <a:rPr lang="en-US" smtClean="0"/>
              <a:t>7/1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3A45933-0F97-4B24-BC4B-C5BF835C67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216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60195B-A8F0-4AA6-83DD-14B1FD08771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7/12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769104-B251-2F45-8068-2262482AC1F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47700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212748" y="99758"/>
            <a:ext cx="9147629" cy="62580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1800" b="1">
              <a:solidFill>
                <a:prstClr val="white"/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2882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0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emf"/><Relationship Id="rId3" Type="http://schemas.openxmlformats.org/officeDocument/2006/relationships/image" Target="../media/image52.emf"/><Relationship Id="rId7" Type="http://schemas.openxmlformats.org/officeDocument/2006/relationships/image" Target="../media/image56.png"/><Relationship Id="rId12" Type="http://schemas.openxmlformats.org/officeDocument/2006/relationships/image" Target="../media/image61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jpeg"/><Relationship Id="rId11" Type="http://schemas.openxmlformats.org/officeDocument/2006/relationships/image" Target="../media/image60.png"/><Relationship Id="rId5" Type="http://schemas.openxmlformats.org/officeDocument/2006/relationships/image" Target="../media/image54.png"/><Relationship Id="rId10" Type="http://schemas.openxmlformats.org/officeDocument/2006/relationships/image" Target="../media/image59.jpeg"/><Relationship Id="rId4" Type="http://schemas.openxmlformats.org/officeDocument/2006/relationships/image" Target="../media/image53.png"/><Relationship Id="rId9" Type="http://schemas.openxmlformats.org/officeDocument/2006/relationships/image" Target="../media/image58.tif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62.png"/><Relationship Id="rId7" Type="http://schemas.openxmlformats.org/officeDocument/2006/relationships/image" Target="../media/image66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5.jpeg"/><Relationship Id="rId5" Type="http://schemas.openxmlformats.org/officeDocument/2006/relationships/image" Target="../media/image64.jpeg"/><Relationship Id="rId4" Type="http://schemas.openxmlformats.org/officeDocument/2006/relationships/image" Target="../media/image6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7" Type="http://schemas.openxmlformats.org/officeDocument/2006/relationships/image" Target="../media/image7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0.jpeg"/><Relationship Id="rId5" Type="http://schemas.openxmlformats.org/officeDocument/2006/relationships/image" Target="../media/image24.emf"/><Relationship Id="rId4" Type="http://schemas.openxmlformats.org/officeDocument/2006/relationships/image" Target="../media/image69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73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5" Type="http://schemas.openxmlformats.org/officeDocument/2006/relationships/image" Target="../media/image77.jpeg"/><Relationship Id="rId4" Type="http://schemas.openxmlformats.org/officeDocument/2006/relationships/image" Target="../media/image73.jp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13" Type="http://schemas.openxmlformats.org/officeDocument/2006/relationships/image" Target="../media/image13.jpeg"/><Relationship Id="rId18" Type="http://schemas.openxmlformats.org/officeDocument/2006/relationships/image" Target="../media/image18.jpeg"/><Relationship Id="rId26" Type="http://schemas.microsoft.com/office/2007/relationships/hdphoto" Target="../media/hdphoto1.wdp"/><Relationship Id="rId3" Type="http://schemas.openxmlformats.org/officeDocument/2006/relationships/tags" Target="../tags/tag2.xml"/><Relationship Id="rId21" Type="http://schemas.openxmlformats.org/officeDocument/2006/relationships/image" Target="../media/image21.png"/><Relationship Id="rId7" Type="http://schemas.openxmlformats.org/officeDocument/2006/relationships/image" Target="../media/image7.emf"/><Relationship Id="rId12" Type="http://schemas.openxmlformats.org/officeDocument/2006/relationships/image" Target="../media/image12.jpeg"/><Relationship Id="rId17" Type="http://schemas.openxmlformats.org/officeDocument/2006/relationships/image" Target="../media/image17.png"/><Relationship Id="rId25" Type="http://schemas.openxmlformats.org/officeDocument/2006/relationships/image" Target="../media/image25.png"/><Relationship Id="rId2" Type="http://schemas.openxmlformats.org/officeDocument/2006/relationships/tags" Target="../tags/tag1.xml"/><Relationship Id="rId16" Type="http://schemas.openxmlformats.org/officeDocument/2006/relationships/image" Target="../media/image16.jpeg"/><Relationship Id="rId20" Type="http://schemas.openxmlformats.org/officeDocument/2006/relationships/image" Target="../media/image20.jpeg"/><Relationship Id="rId29" Type="http://schemas.openxmlformats.org/officeDocument/2006/relationships/image" Target="../media/image28.jpeg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11.png"/><Relationship Id="rId24" Type="http://schemas.openxmlformats.org/officeDocument/2006/relationships/image" Target="../media/image24.emf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15.jpeg"/><Relationship Id="rId23" Type="http://schemas.openxmlformats.org/officeDocument/2006/relationships/image" Target="../media/image23.jpeg"/><Relationship Id="rId28" Type="http://schemas.openxmlformats.org/officeDocument/2006/relationships/image" Target="../media/image27.jpeg"/><Relationship Id="rId10" Type="http://schemas.openxmlformats.org/officeDocument/2006/relationships/image" Target="../media/image10.jpeg"/><Relationship Id="rId19" Type="http://schemas.openxmlformats.org/officeDocument/2006/relationships/image" Target="../media/image19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.jpeg"/><Relationship Id="rId14" Type="http://schemas.openxmlformats.org/officeDocument/2006/relationships/image" Target="../media/image14.jpeg"/><Relationship Id="rId22" Type="http://schemas.openxmlformats.org/officeDocument/2006/relationships/image" Target="../media/image22.jpeg"/><Relationship Id="rId27" Type="http://schemas.openxmlformats.org/officeDocument/2006/relationships/image" Target="../media/image26.jpeg"/><Relationship Id="rId30" Type="http://schemas.openxmlformats.org/officeDocument/2006/relationships/image" Target="../media/image29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png"/><Relationship Id="rId18" Type="http://schemas.openxmlformats.org/officeDocument/2006/relationships/hyperlink" Target="mailto:knightby@nro.mil" TargetMode="External"/><Relationship Id="rId3" Type="http://schemas.openxmlformats.org/officeDocument/2006/relationships/image" Target="../media/image34.png"/><Relationship Id="rId7" Type="http://schemas.openxmlformats.org/officeDocument/2006/relationships/image" Target="../media/image37.png"/><Relationship Id="rId12" Type="http://schemas.openxmlformats.org/officeDocument/2006/relationships/image" Target="../media/image42.jpeg"/><Relationship Id="rId17" Type="http://schemas.openxmlformats.org/officeDocument/2006/relationships/hyperlink" Target="mailto:deborah.m.tomek@nasa.gov" TargetMode="External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4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5" Type="http://schemas.openxmlformats.org/officeDocument/2006/relationships/image" Target="../media/image31.png"/><Relationship Id="rId15" Type="http://schemas.openxmlformats.org/officeDocument/2006/relationships/image" Target="../media/image45.png"/><Relationship Id="rId10" Type="http://schemas.openxmlformats.org/officeDocument/2006/relationships/image" Target="../media/image40.jpeg"/><Relationship Id="rId4" Type="http://schemas.openxmlformats.org/officeDocument/2006/relationships/image" Target="../media/image35.png"/><Relationship Id="rId9" Type="http://schemas.openxmlformats.org/officeDocument/2006/relationships/image" Target="../media/image39.jpeg"/><Relationship Id="rId14" Type="http://schemas.openxmlformats.org/officeDocument/2006/relationships/image" Target="../media/image4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99F1FFA9-D672-408C-9220-ADEEC6ABDD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DFCC6D-E513-430C-BBD8-80DF683E83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1" y="365125"/>
            <a:ext cx="3816095" cy="1938076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l"/>
            <a:r>
              <a:rPr lang="en-US" sz="3200" kern="1200" dirty="0">
                <a:solidFill>
                  <a:schemeClr val="tx1"/>
                </a:solidFill>
              </a:rPr>
              <a:t>On-orbit Servicing, Assembly, and Manufacturing (OSAM) Overview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4B2034-153E-4C9F-B8D1-9A9F2DF78D8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1" y="2945277"/>
            <a:ext cx="3816096" cy="3231685"/>
          </a:xfrm>
        </p:spPr>
        <p:txBody>
          <a:bodyPr vert="horz" lIns="91440" tIns="45720" rIns="91440" bIns="45720" rtlCol="0">
            <a:normAutofit/>
          </a:bodyPr>
          <a:lstStyle/>
          <a:p>
            <a:pPr algn="l"/>
            <a:r>
              <a:rPr lang="en-US" dirty="0"/>
              <a:t>Dale Arney</a:t>
            </a:r>
          </a:p>
          <a:p>
            <a:pPr algn="l"/>
            <a:r>
              <a:rPr lang="en-US" sz="1800" i="1" dirty="0"/>
              <a:t>Chief Architect</a:t>
            </a:r>
          </a:p>
          <a:p>
            <a:pPr algn="l"/>
            <a:r>
              <a:rPr lang="en-US" sz="1800" i="1" dirty="0"/>
              <a:t>OSAM National Initiative</a:t>
            </a:r>
          </a:p>
          <a:p>
            <a:pPr algn="l"/>
            <a:endParaRPr lang="en-US" sz="1800" dirty="0"/>
          </a:p>
          <a:p>
            <a:pPr algn="l"/>
            <a:endParaRPr lang="en-US" sz="1800" dirty="0"/>
          </a:p>
          <a:p>
            <a:pPr algn="l"/>
            <a:endParaRPr lang="en-US" sz="1800" dirty="0"/>
          </a:p>
          <a:p>
            <a:pPr algn="l"/>
            <a:endParaRPr lang="en-US" sz="1800" dirty="0"/>
          </a:p>
          <a:p>
            <a:pPr algn="l"/>
            <a:r>
              <a:rPr lang="en-US" sz="1800" dirty="0"/>
              <a:t>July 22, 2021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3F71E87-66B6-48E1-98CD-5EB797A1ABF3}"/>
              </a:ext>
            </a:extLst>
          </p:cNvPr>
          <p:cNvPicPr>
            <a:picLocks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488" r="-1" b="5788"/>
          <a:stretch/>
        </p:blipFill>
        <p:spPr>
          <a:xfrm>
            <a:off x="4904316" y="-4"/>
            <a:ext cx="7287684" cy="3694372"/>
          </a:xfrm>
          <a:custGeom>
            <a:avLst/>
            <a:gdLst/>
            <a:ahLst/>
            <a:cxnLst/>
            <a:rect l="l" t="t" r="r" b="b"/>
            <a:pathLst>
              <a:path w="7287684" h="3694372">
                <a:moveTo>
                  <a:pt x="1047969" y="0"/>
                </a:moveTo>
                <a:lnTo>
                  <a:pt x="7287684" y="0"/>
                </a:lnTo>
                <a:lnTo>
                  <a:pt x="7287684" y="814388"/>
                </a:lnTo>
                <a:lnTo>
                  <a:pt x="7287684" y="3694372"/>
                </a:lnTo>
                <a:lnTo>
                  <a:pt x="471411" y="3694372"/>
                </a:lnTo>
                <a:lnTo>
                  <a:pt x="470992" y="3686621"/>
                </a:lnTo>
                <a:cubicBezTo>
                  <a:pt x="458999" y="3642419"/>
                  <a:pt x="427907" y="3602236"/>
                  <a:pt x="376383" y="3554015"/>
                </a:cubicBezTo>
                <a:cubicBezTo>
                  <a:pt x="315976" y="3500438"/>
                  <a:pt x="255568" y="3454003"/>
                  <a:pt x="170288" y="3407569"/>
                </a:cubicBezTo>
                <a:cubicBezTo>
                  <a:pt x="365723" y="3382565"/>
                  <a:pt x="163181" y="3296841"/>
                  <a:pt x="230695" y="3243263"/>
                </a:cubicBezTo>
                <a:cubicBezTo>
                  <a:pt x="369276" y="3221831"/>
                  <a:pt x="479431" y="3393282"/>
                  <a:pt x="667759" y="3343275"/>
                </a:cubicBezTo>
                <a:cubicBezTo>
                  <a:pt x="440344" y="3196828"/>
                  <a:pt x="184501" y="3150393"/>
                  <a:pt x="17493" y="2953940"/>
                </a:cubicBezTo>
                <a:cubicBezTo>
                  <a:pt x="56580" y="2911078"/>
                  <a:pt x="95667" y="2953940"/>
                  <a:pt x="127647" y="2936081"/>
                </a:cubicBezTo>
                <a:cubicBezTo>
                  <a:pt x="127647" y="2925365"/>
                  <a:pt x="500751" y="2993232"/>
                  <a:pt x="522071" y="2714625"/>
                </a:cubicBezTo>
                <a:cubicBezTo>
                  <a:pt x="529178" y="2714625"/>
                  <a:pt x="536285" y="2714625"/>
                  <a:pt x="543391" y="2703909"/>
                </a:cubicBezTo>
                <a:cubicBezTo>
                  <a:pt x="582478" y="2664619"/>
                  <a:pt x="546945" y="2571750"/>
                  <a:pt x="610905" y="2564606"/>
                </a:cubicBezTo>
                <a:cubicBezTo>
                  <a:pt x="681973" y="2557462"/>
                  <a:pt x="749487" y="2525315"/>
                  <a:pt x="824107" y="2543175"/>
                </a:cubicBezTo>
                <a:cubicBezTo>
                  <a:pt x="880961" y="2557462"/>
                  <a:pt x="941368" y="2575322"/>
                  <a:pt x="1001776" y="2575322"/>
                </a:cubicBezTo>
                <a:cubicBezTo>
                  <a:pt x="1065736" y="2575322"/>
                  <a:pt x="1154570" y="2696766"/>
                  <a:pt x="1193658" y="2536031"/>
                </a:cubicBezTo>
                <a:cubicBezTo>
                  <a:pt x="1193658" y="2528888"/>
                  <a:pt x="1303812" y="2546747"/>
                  <a:pt x="1364219" y="2553891"/>
                </a:cubicBezTo>
                <a:cubicBezTo>
                  <a:pt x="1413966" y="2561035"/>
                  <a:pt x="1474374" y="2593181"/>
                  <a:pt x="1509907" y="2528888"/>
                </a:cubicBezTo>
                <a:cubicBezTo>
                  <a:pt x="1527674" y="2489596"/>
                  <a:pt x="1442393" y="2418159"/>
                  <a:pt x="1367772" y="2411015"/>
                </a:cubicBezTo>
                <a:cubicBezTo>
                  <a:pt x="1300259" y="2403872"/>
                  <a:pt x="1232745" y="2396728"/>
                  <a:pt x="1168784" y="2411015"/>
                </a:cubicBezTo>
                <a:cubicBezTo>
                  <a:pt x="1090610" y="2428875"/>
                  <a:pt x="1047969" y="2400300"/>
                  <a:pt x="1026649" y="2336007"/>
                </a:cubicBezTo>
                <a:cubicBezTo>
                  <a:pt x="1001776" y="2268141"/>
                  <a:pt x="955582" y="2232422"/>
                  <a:pt x="891621" y="2200275"/>
                </a:cubicBezTo>
                <a:cubicBezTo>
                  <a:pt x="735273" y="2121694"/>
                  <a:pt x="586032" y="2028825"/>
                  <a:pt x="415470" y="1982390"/>
                </a:cubicBezTo>
                <a:cubicBezTo>
                  <a:pt x="383490" y="1975246"/>
                  <a:pt x="344403" y="1960959"/>
                  <a:pt x="330189" y="1900238"/>
                </a:cubicBezTo>
                <a:cubicBezTo>
                  <a:pt x="792127" y="1993106"/>
                  <a:pt x="1211424" y="2232422"/>
                  <a:pt x="1687576" y="2218135"/>
                </a:cubicBezTo>
                <a:cubicBezTo>
                  <a:pt x="1559654" y="2143125"/>
                  <a:pt x="1406860" y="2139554"/>
                  <a:pt x="1268278" y="2085975"/>
                </a:cubicBezTo>
                <a:cubicBezTo>
                  <a:pt x="1367772" y="2046685"/>
                  <a:pt x="1460160" y="2089547"/>
                  <a:pt x="1552548" y="2110978"/>
                </a:cubicBezTo>
                <a:cubicBezTo>
                  <a:pt x="1630722" y="2128837"/>
                  <a:pt x="1701789" y="2132410"/>
                  <a:pt x="1708896" y="2021681"/>
                </a:cubicBezTo>
                <a:cubicBezTo>
                  <a:pt x="1708896" y="2010965"/>
                  <a:pt x="1708896" y="2003821"/>
                  <a:pt x="1708896" y="1993106"/>
                </a:cubicBezTo>
                <a:cubicBezTo>
                  <a:pt x="1680469" y="1946672"/>
                  <a:pt x="1641382" y="1925240"/>
                  <a:pt x="1591635" y="1910953"/>
                </a:cubicBezTo>
                <a:cubicBezTo>
                  <a:pt x="1563208" y="1903809"/>
                  <a:pt x="1524121" y="1889522"/>
                  <a:pt x="1524121" y="1857375"/>
                </a:cubicBezTo>
                <a:cubicBezTo>
                  <a:pt x="1527674" y="1735931"/>
                  <a:pt x="1431733" y="1700212"/>
                  <a:pt x="1339346" y="1664493"/>
                </a:cubicBezTo>
                <a:cubicBezTo>
                  <a:pt x="1389093" y="1603772"/>
                  <a:pt x="1431733" y="1646635"/>
                  <a:pt x="1470820" y="1643062"/>
                </a:cubicBezTo>
                <a:cubicBezTo>
                  <a:pt x="1495694" y="1639491"/>
                  <a:pt x="1520567" y="1635919"/>
                  <a:pt x="1520567" y="1603772"/>
                </a:cubicBezTo>
                <a:cubicBezTo>
                  <a:pt x="1520567" y="1578769"/>
                  <a:pt x="1509907" y="1546622"/>
                  <a:pt x="1485034" y="1546622"/>
                </a:cubicBezTo>
                <a:cubicBezTo>
                  <a:pt x="1328686" y="1543050"/>
                  <a:pt x="1239851" y="1371600"/>
                  <a:pt x="1076396" y="1371600"/>
                </a:cubicBezTo>
                <a:cubicBezTo>
                  <a:pt x="976902" y="1371600"/>
                  <a:pt x="1126144" y="1275159"/>
                  <a:pt x="1044416" y="1235869"/>
                </a:cubicBezTo>
                <a:cubicBezTo>
                  <a:pt x="1026649" y="1225153"/>
                  <a:pt x="1094163" y="1210866"/>
                  <a:pt x="1122590" y="1214437"/>
                </a:cubicBezTo>
                <a:cubicBezTo>
                  <a:pt x="1151017" y="1218009"/>
                  <a:pt x="1175891" y="1243013"/>
                  <a:pt x="1211424" y="1225153"/>
                </a:cubicBezTo>
                <a:cubicBezTo>
                  <a:pt x="1229191" y="1160860"/>
                  <a:pt x="1182997" y="1135856"/>
                  <a:pt x="1140357" y="1117997"/>
                </a:cubicBezTo>
                <a:cubicBezTo>
                  <a:pt x="1047969" y="1075135"/>
                  <a:pt x="955582" y="1025129"/>
                  <a:pt x="852534" y="1010841"/>
                </a:cubicBezTo>
                <a:cubicBezTo>
                  <a:pt x="817001" y="1007269"/>
                  <a:pt x="795680" y="989409"/>
                  <a:pt x="799234" y="953690"/>
                </a:cubicBezTo>
                <a:cubicBezTo>
                  <a:pt x="806340" y="907256"/>
                  <a:pt x="841874" y="921544"/>
                  <a:pt x="870301" y="925115"/>
                </a:cubicBezTo>
                <a:cubicBezTo>
                  <a:pt x="888068" y="928688"/>
                  <a:pt x="905835" y="939403"/>
                  <a:pt x="923602" y="914400"/>
                </a:cubicBezTo>
                <a:cubicBezTo>
                  <a:pt x="611794" y="724198"/>
                  <a:pt x="409919" y="684684"/>
                  <a:pt x="132090" y="589415"/>
                </a:cubicBezTo>
                <a:lnTo>
                  <a:pt x="31922" y="552917"/>
                </a:lnTo>
                <a:lnTo>
                  <a:pt x="26859" y="541335"/>
                </a:lnTo>
                <a:cubicBezTo>
                  <a:pt x="20137" y="534929"/>
                  <a:pt x="8953" y="532232"/>
                  <a:pt x="0" y="527681"/>
                </a:cubicBezTo>
                <a:cubicBezTo>
                  <a:pt x="5969" y="516305"/>
                  <a:pt x="7617" y="502963"/>
                  <a:pt x="17905" y="493550"/>
                </a:cubicBezTo>
                <a:cubicBezTo>
                  <a:pt x="23947" y="488022"/>
                  <a:pt x="35344" y="487159"/>
                  <a:pt x="44763" y="486724"/>
                </a:cubicBezTo>
                <a:lnTo>
                  <a:pt x="165722" y="483650"/>
                </a:lnTo>
                <a:lnTo>
                  <a:pt x="193385" y="498723"/>
                </a:lnTo>
                <a:cubicBezTo>
                  <a:pt x="210263" y="511671"/>
                  <a:pt x="227142" y="525066"/>
                  <a:pt x="315976" y="535781"/>
                </a:cubicBezTo>
                <a:cubicBezTo>
                  <a:pt x="401257" y="546497"/>
                  <a:pt x="479431" y="582216"/>
                  <a:pt x="575372" y="525066"/>
                </a:cubicBezTo>
                <a:cubicBezTo>
                  <a:pt x="639332" y="485775"/>
                  <a:pt x="742380" y="528637"/>
                  <a:pt x="820554" y="560785"/>
                </a:cubicBezTo>
                <a:cubicBezTo>
                  <a:pt x="884515" y="589360"/>
                  <a:pt x="948475" y="596503"/>
                  <a:pt x="1033756" y="560785"/>
                </a:cubicBezTo>
                <a:cubicBezTo>
                  <a:pt x="955582" y="539354"/>
                  <a:pt x="895175" y="521494"/>
                  <a:pt x="834767" y="507206"/>
                </a:cubicBezTo>
                <a:cubicBezTo>
                  <a:pt x="785020" y="496491"/>
                  <a:pt x="756593" y="471488"/>
                  <a:pt x="760147" y="417909"/>
                </a:cubicBezTo>
                <a:cubicBezTo>
                  <a:pt x="760147" y="389334"/>
                  <a:pt x="749487" y="350044"/>
                  <a:pt x="785020" y="335757"/>
                </a:cubicBezTo>
                <a:cubicBezTo>
                  <a:pt x="813447" y="321469"/>
                  <a:pt x="852534" y="335757"/>
                  <a:pt x="866748" y="360759"/>
                </a:cubicBezTo>
                <a:cubicBezTo>
                  <a:pt x="884515" y="407194"/>
                  <a:pt x="902281" y="450056"/>
                  <a:pt x="962689" y="453629"/>
                </a:cubicBezTo>
                <a:cubicBezTo>
                  <a:pt x="1044416" y="460771"/>
                  <a:pt x="998222" y="432197"/>
                  <a:pt x="984009" y="396478"/>
                </a:cubicBezTo>
                <a:cubicBezTo>
                  <a:pt x="969795" y="357188"/>
                  <a:pt x="1012436" y="346472"/>
                  <a:pt x="1040863" y="353615"/>
                </a:cubicBezTo>
                <a:cubicBezTo>
                  <a:pt x="1147464" y="385763"/>
                  <a:pt x="1257618" y="328613"/>
                  <a:pt x="1367772" y="375047"/>
                </a:cubicBezTo>
                <a:cubicBezTo>
                  <a:pt x="1339346" y="260747"/>
                  <a:pt x="1278938" y="210741"/>
                  <a:pt x="1151017" y="192881"/>
                </a:cubicBezTo>
                <a:cubicBezTo>
                  <a:pt x="1104823" y="189310"/>
                  <a:pt x="1055076" y="196453"/>
                  <a:pt x="1012436" y="164306"/>
                </a:cubicBezTo>
                <a:cubicBezTo>
                  <a:pt x="987562" y="146447"/>
                  <a:pt x="962689" y="125016"/>
                  <a:pt x="980456" y="89297"/>
                </a:cubicBezTo>
                <a:cubicBezTo>
                  <a:pt x="991116" y="64294"/>
                  <a:pt x="1019542" y="64294"/>
                  <a:pt x="1044416" y="71437"/>
                </a:cubicBezTo>
                <a:cubicBezTo>
                  <a:pt x="1147464" y="110728"/>
                  <a:pt x="1257618" y="121444"/>
                  <a:pt x="1364219" y="135731"/>
                </a:cubicBezTo>
                <a:cubicBezTo>
                  <a:pt x="1381986" y="139303"/>
                  <a:pt x="1399753" y="146447"/>
                  <a:pt x="1417520" y="110728"/>
                </a:cubicBezTo>
                <a:cubicBezTo>
                  <a:pt x="1293152" y="78581"/>
                  <a:pt x="1172337" y="35719"/>
                  <a:pt x="1047969" y="0"/>
                </a:cubicBezTo>
                <a:close/>
              </a:path>
            </a:pathLst>
          </a:custGeom>
        </p:spPr>
      </p:pic>
      <p:pic>
        <p:nvPicPr>
          <p:cNvPr id="5" name="Content Placeholder 3">
            <a:extLst>
              <a:ext uri="{FF2B5EF4-FFF2-40B4-BE49-F238E27FC236}">
                <a16:creationId xmlns:a16="http://schemas.microsoft.com/office/drawing/2014/main" id="{BCE7FD36-310E-417E-884C-87AC1ADDB8D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6562"/>
          <a:stretch/>
        </p:blipFill>
        <p:spPr>
          <a:xfrm>
            <a:off x="4726728" y="3802961"/>
            <a:ext cx="7472381" cy="3055043"/>
          </a:xfrm>
          <a:custGeom>
            <a:avLst/>
            <a:gdLst/>
            <a:ahLst/>
            <a:cxnLst/>
            <a:rect l="l" t="t" r="r" b="b"/>
            <a:pathLst>
              <a:path w="7472381" h="3055043">
                <a:moveTo>
                  <a:pt x="638975" y="0"/>
                </a:moveTo>
                <a:lnTo>
                  <a:pt x="7472381" y="0"/>
                </a:lnTo>
                <a:lnTo>
                  <a:pt x="7472381" y="2579984"/>
                </a:lnTo>
                <a:lnTo>
                  <a:pt x="7472381" y="3055043"/>
                </a:lnTo>
                <a:lnTo>
                  <a:pt x="6992676" y="3055043"/>
                </a:lnTo>
                <a:lnTo>
                  <a:pt x="1946893" y="3055043"/>
                </a:lnTo>
                <a:cubicBezTo>
                  <a:pt x="1801205" y="2983605"/>
                  <a:pt x="1662624" y="2897880"/>
                  <a:pt x="1506276" y="2855018"/>
                </a:cubicBezTo>
                <a:cubicBezTo>
                  <a:pt x="1399675" y="2826443"/>
                  <a:pt x="1296627" y="2776437"/>
                  <a:pt x="1314394" y="2626417"/>
                </a:cubicBezTo>
                <a:cubicBezTo>
                  <a:pt x="1317947" y="2583555"/>
                  <a:pt x="1289520" y="2551409"/>
                  <a:pt x="1246880" y="2562124"/>
                </a:cubicBezTo>
                <a:cubicBezTo>
                  <a:pt x="1165153" y="2583555"/>
                  <a:pt x="1126065" y="2522833"/>
                  <a:pt x="1079872" y="2476399"/>
                </a:cubicBezTo>
                <a:cubicBezTo>
                  <a:pt x="998144" y="2394247"/>
                  <a:pt x="919970" y="2308520"/>
                  <a:pt x="788495" y="2294233"/>
                </a:cubicBezTo>
                <a:cubicBezTo>
                  <a:pt x="813369" y="2229939"/>
                  <a:pt x="856009" y="2237083"/>
                  <a:pt x="895097" y="2251371"/>
                </a:cubicBezTo>
                <a:cubicBezTo>
                  <a:pt x="998144" y="2287090"/>
                  <a:pt x="1101192" y="2326380"/>
                  <a:pt x="1204239" y="2362099"/>
                </a:cubicBezTo>
                <a:cubicBezTo>
                  <a:pt x="1271754" y="2383530"/>
                  <a:pt x="1339267" y="2415677"/>
                  <a:pt x="1428102" y="2390674"/>
                </a:cubicBezTo>
                <a:cubicBezTo>
                  <a:pt x="1349928" y="2262087"/>
                  <a:pt x="1218453" y="2237083"/>
                  <a:pt x="1111852" y="2197793"/>
                </a:cubicBezTo>
                <a:cubicBezTo>
                  <a:pt x="980377" y="2147787"/>
                  <a:pt x="902203" y="2054918"/>
                  <a:pt x="806262" y="1947762"/>
                </a:cubicBezTo>
                <a:cubicBezTo>
                  <a:pt x="902203" y="1919187"/>
                  <a:pt x="962610" y="1997768"/>
                  <a:pt x="1040785" y="1994196"/>
                </a:cubicBezTo>
                <a:cubicBezTo>
                  <a:pt x="1044338" y="1983480"/>
                  <a:pt x="1051445" y="1962049"/>
                  <a:pt x="1051445" y="1962049"/>
                </a:cubicBezTo>
                <a:cubicBezTo>
                  <a:pt x="923523" y="1904899"/>
                  <a:pt x="866670" y="1797743"/>
                  <a:pt x="845349" y="1665583"/>
                </a:cubicBezTo>
                <a:cubicBezTo>
                  <a:pt x="838243" y="1597718"/>
                  <a:pt x="792049" y="1576287"/>
                  <a:pt x="745855" y="1544140"/>
                </a:cubicBezTo>
                <a:cubicBezTo>
                  <a:pt x="589507" y="1433411"/>
                  <a:pt x="422499" y="1333399"/>
                  <a:pt x="291024" y="1183381"/>
                </a:cubicBezTo>
                <a:cubicBezTo>
                  <a:pt x="443819" y="1201239"/>
                  <a:pt x="564633" y="1301252"/>
                  <a:pt x="724535" y="1344115"/>
                </a:cubicBezTo>
                <a:cubicBezTo>
                  <a:pt x="596614" y="1179808"/>
                  <a:pt x="429605" y="1094083"/>
                  <a:pt x="276811" y="994071"/>
                </a:cubicBezTo>
                <a:cubicBezTo>
                  <a:pt x="205743" y="947637"/>
                  <a:pt x="141783" y="890486"/>
                  <a:pt x="60055" y="865484"/>
                </a:cubicBezTo>
                <a:cubicBezTo>
                  <a:pt x="31628" y="858340"/>
                  <a:pt x="-18119" y="840481"/>
                  <a:pt x="6755" y="790474"/>
                </a:cubicBezTo>
                <a:cubicBezTo>
                  <a:pt x="28075" y="747612"/>
                  <a:pt x="67162" y="761900"/>
                  <a:pt x="102696" y="772614"/>
                </a:cubicBezTo>
                <a:cubicBezTo>
                  <a:pt x="187976" y="801190"/>
                  <a:pt x="280364" y="801190"/>
                  <a:pt x="397625" y="801190"/>
                </a:cubicBezTo>
                <a:cubicBezTo>
                  <a:pt x="298131" y="665458"/>
                  <a:pt x="116909" y="708321"/>
                  <a:pt x="31628" y="565446"/>
                </a:cubicBezTo>
                <a:cubicBezTo>
                  <a:pt x="138229" y="540444"/>
                  <a:pt x="219957" y="590450"/>
                  <a:pt x="305237" y="601165"/>
                </a:cubicBezTo>
                <a:cubicBezTo>
                  <a:pt x="383412" y="611881"/>
                  <a:pt x="401178" y="586877"/>
                  <a:pt x="383412" y="508296"/>
                </a:cubicBezTo>
                <a:cubicBezTo>
                  <a:pt x="354985" y="386853"/>
                  <a:pt x="397625" y="326130"/>
                  <a:pt x="511333" y="358278"/>
                </a:cubicBezTo>
                <a:cubicBezTo>
                  <a:pt x="617934" y="390424"/>
                  <a:pt x="628594" y="343990"/>
                  <a:pt x="600167" y="276124"/>
                </a:cubicBezTo>
                <a:cubicBezTo>
                  <a:pt x="557527" y="176112"/>
                  <a:pt x="603720" y="97531"/>
                  <a:pt x="635701" y="11805"/>
                </a:cubicBezTo>
                <a:close/>
              </a:path>
            </a:pathLst>
          </a:cu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1E6239-7A47-4C89-A8C8-C0FF4352F1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15600" y="6356350"/>
            <a:ext cx="838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13A45933-0F97-4B24-BC4B-C5BF835C6785}" type="slidenum">
              <a:rPr lang="en-US">
                <a:solidFill>
                  <a:srgbClr val="FFFFFF"/>
                </a:solidFill>
                <a:latin typeface="+mn-lt"/>
                <a:cs typeface="+mn-cs"/>
              </a:rPr>
              <a:pPr>
                <a:spcAft>
                  <a:spcPts val="600"/>
                </a:spcAft>
              </a:pPr>
              <a:t>1</a:t>
            </a:fld>
            <a:endParaRPr lang="en-US">
              <a:solidFill>
                <a:srgbClr val="FFFFFF"/>
              </a:solidFill>
              <a:latin typeface="+mn-lt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77D5A9B-E5D0-4426-B0A5-C47455F4A181}"/>
              </a:ext>
            </a:extLst>
          </p:cNvPr>
          <p:cNvSpPr txBox="1"/>
          <p:nvPr/>
        </p:nvSpPr>
        <p:spPr>
          <a:xfrm>
            <a:off x="10390062" y="3386593"/>
            <a:ext cx="17988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mage Credit: NAS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C5A2B4A-2A43-4835-9905-5559423945B8}"/>
              </a:ext>
            </a:extLst>
          </p:cNvPr>
          <p:cNvSpPr txBox="1"/>
          <p:nvPr/>
        </p:nvSpPr>
        <p:spPr>
          <a:xfrm>
            <a:off x="10390062" y="3803378"/>
            <a:ext cx="17988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Credit: NASA</a:t>
            </a:r>
          </a:p>
        </p:txBody>
      </p:sp>
    </p:spTree>
    <p:extLst>
      <p:ext uri="{BB962C8B-B14F-4D97-AF65-F5344CB8AC3E}">
        <p14:creationId xmlns:p14="http://schemas.microsoft.com/office/powerpoint/2010/main" val="28079101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19C606E-1674-4326-AF88-B7BFE4E8E5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osscutting Uses of OSAM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827ECCB-2A1F-419E-8231-7394DD62C7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2A338-ABA5-4225-B0AB-D15EBC6BDDFF}" type="slidenum">
              <a:rPr lang="en-US" smtClean="0"/>
              <a:t>10</a:t>
            </a:fld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BCBBE98-FCA0-488E-B2D0-97D1D631FAC3}"/>
              </a:ext>
            </a:extLst>
          </p:cNvPr>
          <p:cNvGrpSpPr/>
          <p:nvPr/>
        </p:nvGrpSpPr>
        <p:grpSpPr>
          <a:xfrm>
            <a:off x="6917730" y="1504040"/>
            <a:ext cx="4186238" cy="4510319"/>
            <a:chOff x="7336972" y="1447906"/>
            <a:chExt cx="4186238" cy="4510319"/>
          </a:xfrm>
        </p:grpSpPr>
        <p:pic>
          <p:nvPicPr>
            <p:cNvPr id="3074" name="Picture 2">
              <a:extLst>
                <a:ext uri="{FF2B5EF4-FFF2-40B4-BE49-F238E27FC236}">
                  <a16:creationId xmlns:a16="http://schemas.microsoft.com/office/drawing/2014/main" id="{C0362F2F-3FA8-4AD0-AC04-53EBEAAD90F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36972" y="1910443"/>
              <a:ext cx="4186238" cy="23098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C0242F1E-134A-4791-877F-BB92E4A666D0}"/>
                </a:ext>
              </a:extLst>
            </p:cNvPr>
            <p:cNvSpPr txBox="1"/>
            <p:nvPr/>
          </p:nvSpPr>
          <p:spPr>
            <a:xfrm>
              <a:off x="7336972" y="1447906"/>
              <a:ext cx="418623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>
                  <a:latin typeface="Arial" panose="020B0604020202020204" pitchFamily="34" charset="0"/>
                  <a:cs typeface="Arial" panose="020B0604020202020204" pitchFamily="34" charset="0"/>
                </a:rPr>
                <a:t>Space Mobility &amp; Logistics</a:t>
              </a:r>
              <a:endParaRPr 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BCFC5C2-3AFC-445B-90A7-82C4600113ED}"/>
                </a:ext>
              </a:extLst>
            </p:cNvPr>
            <p:cNvSpPr txBox="1"/>
            <p:nvPr/>
          </p:nvSpPr>
          <p:spPr>
            <a:xfrm>
              <a:off x="8607027" y="3859037"/>
              <a:ext cx="291618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edit: Northrop Grumman</a:t>
              </a:r>
            </a:p>
          </p:txBody>
        </p:sp>
        <p:pic>
          <p:nvPicPr>
            <p:cNvPr id="3076" name="Picture 4" descr="Fuel depot concept design - Orbit Fab">
              <a:extLst>
                <a:ext uri="{FF2B5EF4-FFF2-40B4-BE49-F238E27FC236}">
                  <a16:creationId xmlns:a16="http://schemas.microsoft.com/office/drawing/2014/main" id="{4B0FDE95-2DA3-442D-8CC1-D9004512661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36972" y="4353500"/>
              <a:ext cx="4186238" cy="16047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D9D2EB5-C42B-4063-B6B1-5FB51247AEAC}"/>
                </a:ext>
              </a:extLst>
            </p:cNvPr>
            <p:cNvSpPr txBox="1"/>
            <p:nvPr/>
          </p:nvSpPr>
          <p:spPr>
            <a:xfrm>
              <a:off x="9632949" y="5588893"/>
              <a:ext cx="189026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Credit: Orbit Fab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59F1D78-E1E6-4974-97D3-99B1C6B41E9C}"/>
              </a:ext>
            </a:extLst>
          </p:cNvPr>
          <p:cNvGrpSpPr/>
          <p:nvPr/>
        </p:nvGrpSpPr>
        <p:grpSpPr>
          <a:xfrm>
            <a:off x="1088032" y="1504040"/>
            <a:ext cx="4741666" cy="4510320"/>
            <a:chOff x="781051" y="1447905"/>
            <a:chExt cx="4741666" cy="4510320"/>
          </a:xfrm>
        </p:grpSpPr>
        <p:pic>
          <p:nvPicPr>
            <p:cNvPr id="3078" name="Picture 6" descr="A Digital Directorate team at Peterson Air Force Base, Colo., used an emulation tech refresh process to ensure reliability for space domain awareness. (U.S. Air Force graphic)">
              <a:extLst>
                <a:ext uri="{FF2B5EF4-FFF2-40B4-BE49-F238E27FC236}">
                  <a16:creationId xmlns:a16="http://schemas.microsoft.com/office/drawing/2014/main" id="{9F42AFC5-81CE-4A65-AEC5-09A50873745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1051" y="1909571"/>
              <a:ext cx="4741666" cy="40486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BFB3C2F-89D3-402C-95FF-EFDDEDB557C3}"/>
                </a:ext>
              </a:extLst>
            </p:cNvPr>
            <p:cNvSpPr txBox="1"/>
            <p:nvPr/>
          </p:nvSpPr>
          <p:spPr>
            <a:xfrm>
              <a:off x="781051" y="1447905"/>
              <a:ext cx="418623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>
                  <a:latin typeface="Arial" panose="020B0604020202020204" pitchFamily="34" charset="0"/>
                  <a:cs typeface="Arial" panose="020B0604020202020204" pitchFamily="34" charset="0"/>
                </a:rPr>
                <a:t>Space Domain Awareness</a:t>
              </a:r>
              <a:endParaRPr 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1F7A87F-DCFF-4476-913C-16221E208D69}"/>
                </a:ext>
              </a:extLst>
            </p:cNvPr>
            <p:cNvSpPr txBox="1"/>
            <p:nvPr/>
          </p:nvSpPr>
          <p:spPr>
            <a:xfrm>
              <a:off x="781051" y="5588893"/>
              <a:ext cx="236481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edit: U.S. Air For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345193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6692EB-2FE1-4B69-9A35-CD9122D9ED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/>
              <a:t>OSAM National Initiative Capability Areas (2021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4128EA-3AE8-4FD9-AEB1-F75A8B8F5A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1949" y="1581150"/>
            <a:ext cx="11591925" cy="4219837"/>
          </a:xfrm>
        </p:spPr>
        <p:txBody>
          <a:bodyPr numCol="2" spcCol="274320">
            <a:normAutofit fontScale="55000" lnSpcReduction="20000"/>
          </a:bodyPr>
          <a:lstStyle/>
          <a:p>
            <a:pPr marL="287338" indent="-287338">
              <a:lnSpc>
                <a:spcPct val="120000"/>
              </a:lnSpc>
              <a:buFont typeface="+mj-lt"/>
              <a:buAutoNum type="arabicPeriod"/>
            </a:pPr>
            <a:r>
              <a:rPr lang="en-US" b="1" dirty="0">
                <a:solidFill>
                  <a:srgbClr val="0B3D91"/>
                </a:solidFill>
              </a:rPr>
              <a:t>Robotic Manipulation</a:t>
            </a:r>
            <a:r>
              <a:rPr lang="en-US" dirty="0"/>
              <a:t>: Includes robotic activities such as cutting, placing modules, and assisted deployment</a:t>
            </a:r>
          </a:p>
          <a:p>
            <a:pPr marL="287338" indent="-287338">
              <a:lnSpc>
                <a:spcPct val="120000"/>
              </a:lnSpc>
              <a:buFont typeface="+mj-lt"/>
              <a:buAutoNum type="arabicPeriod"/>
            </a:pPr>
            <a:r>
              <a:rPr lang="en-US" b="1" dirty="0">
                <a:solidFill>
                  <a:srgbClr val="0B3D91"/>
                </a:solidFill>
              </a:rPr>
              <a:t>RPO, Capture, Docking, and Mating</a:t>
            </a:r>
            <a:r>
              <a:rPr lang="en-US" dirty="0"/>
              <a:t>: Includes space situational awareness, crewed or autonomous docking/berthing, and formation flying</a:t>
            </a:r>
          </a:p>
          <a:p>
            <a:pPr marL="287338" indent="-287338">
              <a:lnSpc>
                <a:spcPct val="120000"/>
              </a:lnSpc>
              <a:buFont typeface="+mj-lt"/>
              <a:buAutoNum type="arabicPeriod"/>
            </a:pPr>
            <a:r>
              <a:rPr lang="en-US" b="1" dirty="0">
                <a:solidFill>
                  <a:srgbClr val="0B3D91"/>
                </a:solidFill>
              </a:rPr>
              <a:t>Relocation</a:t>
            </a:r>
            <a:r>
              <a:rPr lang="en-US" dirty="0"/>
              <a:t>: Includes boosting, repositioning, deorbit, and life extension</a:t>
            </a:r>
          </a:p>
          <a:p>
            <a:pPr marL="287338" indent="-287338">
              <a:lnSpc>
                <a:spcPct val="120000"/>
              </a:lnSpc>
              <a:buFont typeface="+mj-lt"/>
              <a:buAutoNum type="arabicPeriod"/>
            </a:pPr>
            <a:r>
              <a:rPr lang="en-US" b="1" dirty="0">
                <a:solidFill>
                  <a:srgbClr val="0B3D91"/>
                </a:solidFill>
              </a:rPr>
              <a:t>Planned Repair, Upgrade, Maintenance, and Installation</a:t>
            </a:r>
            <a:r>
              <a:rPr lang="en-US" dirty="0"/>
              <a:t>: Includes modular interface connections, instrument swap out, upgrade a system/payload that is intended to be changed</a:t>
            </a:r>
          </a:p>
          <a:p>
            <a:pPr marL="287338" indent="-287338">
              <a:lnSpc>
                <a:spcPct val="120000"/>
              </a:lnSpc>
              <a:buFont typeface="+mj-lt"/>
              <a:buAutoNum type="arabicPeriod"/>
            </a:pPr>
            <a:r>
              <a:rPr lang="en-US" b="1" dirty="0">
                <a:solidFill>
                  <a:srgbClr val="0B3D91"/>
                </a:solidFill>
              </a:rPr>
              <a:t>Unplanned or Legacy Repair and Maintenance</a:t>
            </a:r>
            <a:r>
              <a:rPr lang="en-US" dirty="0"/>
              <a:t>: More complex servicing (e.g., non-cooperative systems, systems that weren’t intended to be replaced)</a:t>
            </a:r>
          </a:p>
          <a:p>
            <a:pPr marL="287338" indent="-287338">
              <a:lnSpc>
                <a:spcPct val="120000"/>
              </a:lnSpc>
              <a:buFont typeface="+mj-lt"/>
              <a:buAutoNum type="arabicPeriod"/>
            </a:pPr>
            <a:r>
              <a:rPr lang="en-US" b="1" dirty="0">
                <a:solidFill>
                  <a:srgbClr val="0B3D91"/>
                </a:solidFill>
              </a:rPr>
              <a:t>Refueling and Fluid Transfer</a:t>
            </a:r>
            <a:r>
              <a:rPr lang="en-US" dirty="0"/>
              <a:t>: Includes cryogenic and non-cryogenic, surface and orbit fluid transfers</a:t>
            </a:r>
          </a:p>
          <a:p>
            <a:pPr marL="287338" indent="-287338">
              <a:lnSpc>
                <a:spcPct val="120000"/>
              </a:lnSpc>
              <a:buFont typeface="+mj-lt"/>
              <a:buAutoNum type="arabicPeriod"/>
            </a:pPr>
            <a:r>
              <a:rPr lang="en-US" b="1" dirty="0">
                <a:solidFill>
                  <a:srgbClr val="0B3D91"/>
                </a:solidFill>
              </a:rPr>
              <a:t>Structural Manufacturing and Assembly</a:t>
            </a:r>
            <a:r>
              <a:rPr lang="en-US" dirty="0"/>
              <a:t>: Includes manufacturing (3-D printing, extruding, etc.) and assembly of structures with various interfaces, joining approaches, and precision</a:t>
            </a:r>
          </a:p>
          <a:p>
            <a:pPr marL="287338" indent="-287338">
              <a:lnSpc>
                <a:spcPct val="120000"/>
              </a:lnSpc>
              <a:buFont typeface="+mj-lt"/>
              <a:buAutoNum type="arabicPeriod"/>
            </a:pPr>
            <a:r>
              <a:rPr lang="en-US" b="1" dirty="0">
                <a:solidFill>
                  <a:srgbClr val="0B3D91"/>
                </a:solidFill>
              </a:rPr>
              <a:t>Recycling, Reuse, &amp; Repurposing</a:t>
            </a:r>
            <a:r>
              <a:rPr lang="en-US" dirty="0"/>
              <a:t>: Includes breaking down old parts for new feedstock and reusing old parts in new spacecraft</a:t>
            </a:r>
          </a:p>
          <a:p>
            <a:pPr marL="287338" indent="-287338">
              <a:lnSpc>
                <a:spcPct val="120000"/>
              </a:lnSpc>
              <a:buFont typeface="+mj-lt"/>
              <a:buAutoNum type="arabicPeriod"/>
            </a:pPr>
            <a:r>
              <a:rPr lang="en-US" b="1" dirty="0">
                <a:solidFill>
                  <a:srgbClr val="0B3D91"/>
                </a:solidFill>
              </a:rPr>
              <a:t>Parts and Goods Manufacturing</a:t>
            </a:r>
            <a:r>
              <a:rPr lang="en-US" dirty="0"/>
              <a:t>: Includes internal (to a habitat), external, and manufacturing for Earth use (space factory) for spare parts, subsystems, and structures</a:t>
            </a:r>
          </a:p>
          <a:p>
            <a:pPr marL="287338" indent="-287338">
              <a:lnSpc>
                <a:spcPct val="120000"/>
              </a:lnSpc>
              <a:buFont typeface="+mj-lt"/>
              <a:buAutoNum type="arabicPeriod"/>
            </a:pPr>
            <a:r>
              <a:rPr lang="en-US" b="1" dirty="0">
                <a:solidFill>
                  <a:srgbClr val="0B3D91"/>
                </a:solidFill>
              </a:rPr>
              <a:t>Surface Construction</a:t>
            </a:r>
            <a:r>
              <a:rPr lang="en-US" dirty="0"/>
              <a:t>: Includes building structures and infrastructure, using regolith to build, and standard interfaces for surface systems</a:t>
            </a:r>
          </a:p>
          <a:p>
            <a:pPr marL="287338" indent="-287338">
              <a:lnSpc>
                <a:spcPct val="120000"/>
              </a:lnSpc>
              <a:buFont typeface="+mj-lt"/>
              <a:buAutoNum type="arabicPeriod"/>
            </a:pPr>
            <a:r>
              <a:rPr lang="en-US" sz="2700" b="1" dirty="0">
                <a:solidFill>
                  <a:srgbClr val="0B3D91"/>
                </a:solidFill>
              </a:rPr>
              <a:t>Inspection and Metrology: </a:t>
            </a:r>
            <a:r>
              <a:rPr lang="en-US" dirty="0"/>
              <a:t>Includes free-flyer inspection, non-destructive evaluation, and close (robotic) inspection  </a:t>
            </a:r>
          </a:p>
          <a:p>
            <a:pPr marL="0" indent="0">
              <a:lnSpc>
                <a:spcPct val="120000"/>
              </a:lnSpc>
              <a:buNone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43FD1E-B6FF-430A-9382-1E64710C7B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32314-00BB-4B99-B6EC-9287B40777A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9763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2FD2F6-DEF2-418B-9AFF-44D2E46A36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operative On-orbit Servic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57397AB-9077-4AFE-83EA-CC5BFB3FCE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A45933-0F97-4B24-BC4B-C5BF835C6785}" type="slidenum">
              <a:rPr lang="en-US" smtClean="0"/>
              <a:t>12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C36EAC-0E12-4801-9E3A-BEE52443FF0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58" t="5369"/>
          <a:stretch/>
        </p:blipFill>
        <p:spPr>
          <a:xfrm>
            <a:off x="1736089" y="1357742"/>
            <a:ext cx="8719823" cy="4998608"/>
          </a:xfrm>
          <a:prstGeom prst="rect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32BF7F4-C606-4DEA-90E1-2A43BF66DB6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7175" y="5486930"/>
            <a:ext cx="1400884" cy="93027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A1FB9C1-F2C0-4FEA-A20C-36B6225F06B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4995" y="4331873"/>
            <a:ext cx="1305244" cy="93977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84BE407-BD5E-47C1-B3DD-007FC23B252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7823" y="3533496"/>
            <a:ext cx="1164741" cy="76031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B85778E-EE99-4CD4-9AA3-DF0AB6F8CEF9}"/>
              </a:ext>
            </a:extLst>
          </p:cNvPr>
          <p:cNvPicPr/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9687" y="4576617"/>
            <a:ext cx="1221012" cy="865892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5B80756B-5003-4B1D-B846-E1F1586004F0}"/>
              </a:ext>
            </a:extLst>
          </p:cNvPr>
          <p:cNvGrpSpPr/>
          <p:nvPr/>
        </p:nvGrpSpPr>
        <p:grpSpPr>
          <a:xfrm>
            <a:off x="391711" y="2219824"/>
            <a:ext cx="951812" cy="762905"/>
            <a:chOff x="4571615" y="1343681"/>
            <a:chExt cx="4356847" cy="3402490"/>
          </a:xfrm>
        </p:grpSpPr>
        <p:pic>
          <p:nvPicPr>
            <p:cNvPr id="13" name="Picture 2" descr="oSA_markers.PNG">
              <a:extLst>
                <a:ext uri="{FF2B5EF4-FFF2-40B4-BE49-F238E27FC236}">
                  <a16:creationId xmlns:a16="http://schemas.microsoft.com/office/drawing/2014/main" id="{4FC6ED90-A228-401C-9911-9551D6BDBF9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571615" y="1343681"/>
              <a:ext cx="4356847" cy="34024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E13CD6FC-4728-403A-906F-F8748DE21B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50827"/>
            <a:stretch/>
          </p:blipFill>
          <p:spPr>
            <a:xfrm>
              <a:off x="7736845" y="3215912"/>
              <a:ext cx="1150980" cy="1022716"/>
            </a:xfrm>
            <a:prstGeom prst="rect">
              <a:avLst/>
            </a:prstGeom>
          </p:spPr>
        </p:pic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89BA2F7F-F190-4127-88D6-2DFB38C6CBDC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0834" y="3198011"/>
            <a:ext cx="1133567" cy="91858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8DD20E9-77B4-493E-B9E0-CF45BF6E9C77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9961" y="1562764"/>
            <a:ext cx="1200464" cy="70485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0C6D27C-9A5D-459F-8EA7-73A77E926970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09853" y="2550427"/>
            <a:ext cx="1140681" cy="700265"/>
          </a:xfrm>
          <a:prstGeom prst="rect">
            <a:avLst/>
          </a:prstGeom>
        </p:spPr>
      </p:pic>
      <p:pic>
        <p:nvPicPr>
          <p:cNvPr id="18" name="Picture 2" descr="C:\Users\mashmore\AppData\Local\Temp\SNAGHTML32f4068.PNG">
            <a:extLst>
              <a:ext uri="{FF2B5EF4-FFF2-40B4-BE49-F238E27FC236}">
                <a16:creationId xmlns:a16="http://schemas.microsoft.com/office/drawing/2014/main" id="{38C82D58-4FE8-4B76-82BC-9830E55F37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1122057">
            <a:off x="372937" y="1427299"/>
            <a:ext cx="989361" cy="577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3E73551-38AD-4412-9F0E-8AA6328C7DBC}"/>
              </a:ext>
            </a:extLst>
          </p:cNvPr>
          <p:cNvSpPr txBox="1"/>
          <p:nvPr/>
        </p:nvSpPr>
        <p:spPr>
          <a:xfrm>
            <a:off x="10546998" y="5813567"/>
            <a:ext cx="164500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mage Credits: NASA</a:t>
            </a:r>
          </a:p>
        </p:txBody>
      </p:sp>
    </p:spTree>
    <p:extLst>
      <p:ext uri="{BB962C8B-B14F-4D97-AF65-F5344CB8AC3E}">
        <p14:creationId xmlns:p14="http://schemas.microsoft.com/office/powerpoint/2010/main" val="11007227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0DAE6AA-5ED4-44DA-A6B7-80A5A2C55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uctural Assemb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203AC1-4081-4623-BE7B-3C98D392B4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A45933-0F97-4B24-BC4B-C5BF835C6785}" type="slidenum">
              <a:rPr lang="en-US" smtClean="0"/>
              <a:t>13</a:t>
            </a:fld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8560FF6-924E-4251-8A9F-DD5B4DBE857C}"/>
              </a:ext>
            </a:extLst>
          </p:cNvPr>
          <p:cNvGrpSpPr/>
          <p:nvPr/>
        </p:nvGrpSpPr>
        <p:grpSpPr>
          <a:xfrm>
            <a:off x="361950" y="1248386"/>
            <a:ext cx="2816793" cy="4957895"/>
            <a:chOff x="361950" y="1248386"/>
            <a:chExt cx="2816793" cy="4957895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C5C6E766-802C-4B45-9312-1D4488C483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1950" y="3493343"/>
              <a:ext cx="2816793" cy="2712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22F980B-D5E3-4D1A-AD7D-91AE71E7588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1950" y="1248386"/>
              <a:ext cx="2816793" cy="21806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5658704-6EEB-4343-815C-599F463D2FAE}"/>
              </a:ext>
            </a:extLst>
          </p:cNvPr>
          <p:cNvGrpSpPr/>
          <p:nvPr/>
        </p:nvGrpSpPr>
        <p:grpSpPr>
          <a:xfrm>
            <a:off x="4142080" y="1248386"/>
            <a:ext cx="7882254" cy="4957895"/>
            <a:chOff x="4142080" y="1248386"/>
            <a:chExt cx="7882254" cy="4957895"/>
          </a:xfrm>
        </p:grpSpPr>
        <p:pic>
          <p:nvPicPr>
            <p:cNvPr id="8" name="Picture 9" descr="C:\bd\work\projects\ASAL 2\panel ee placing a panel2.jpg">
              <a:extLst>
                <a:ext uri="{FF2B5EF4-FFF2-40B4-BE49-F238E27FC236}">
                  <a16:creationId xmlns:a16="http://schemas.microsoft.com/office/drawing/2014/main" id="{D7A9EB90-6AAF-4E96-A9DE-CBCEF1A6EB0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80548" y="1248386"/>
              <a:ext cx="2743786" cy="18234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A4548328-CBD7-4B13-8B32-0DFA045B37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23382"/>
            <a:stretch/>
          </p:blipFill>
          <p:spPr>
            <a:xfrm>
              <a:off x="9280548" y="3130067"/>
              <a:ext cx="2743786" cy="3076214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061E290F-BC99-412C-8849-7F24A5238B8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142080" y="4156488"/>
              <a:ext cx="5057492" cy="2049793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A7EB0961-DEE6-4080-A851-55C91350C34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142080" y="1248386"/>
              <a:ext cx="5057492" cy="2856334"/>
            </a:xfrm>
            <a:prstGeom prst="rect">
              <a:avLst/>
            </a:prstGeom>
            <a:ln w="28575">
              <a:noFill/>
            </a:ln>
          </p:spPr>
        </p:pic>
      </p:grp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195454CA-42F8-45CB-953A-609983750344}"/>
              </a:ext>
            </a:extLst>
          </p:cNvPr>
          <p:cNvSpPr/>
          <p:nvPr/>
        </p:nvSpPr>
        <p:spPr>
          <a:xfrm>
            <a:off x="3046316" y="3233238"/>
            <a:ext cx="1338762" cy="611284"/>
          </a:xfrm>
          <a:prstGeom prst="rightArrow">
            <a:avLst/>
          </a:prstGeom>
          <a:solidFill>
            <a:srgbClr val="0B3D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994F66E-E45C-42FC-8771-77DD9057D8A9}"/>
              </a:ext>
            </a:extLst>
          </p:cNvPr>
          <p:cNvSpPr txBox="1"/>
          <p:nvPr/>
        </p:nvSpPr>
        <p:spPr>
          <a:xfrm>
            <a:off x="921364" y="6206281"/>
            <a:ext cx="16979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ast Assembl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AFEA752-17C5-469B-89F1-9E1485392978}"/>
              </a:ext>
            </a:extLst>
          </p:cNvPr>
          <p:cNvSpPr txBox="1"/>
          <p:nvPr/>
        </p:nvSpPr>
        <p:spPr>
          <a:xfrm>
            <a:off x="5163177" y="6206281"/>
            <a:ext cx="58400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uture is moving toward autonomous robotic assembly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5ACA46F-66B2-4C76-9426-63225E852A94}"/>
              </a:ext>
            </a:extLst>
          </p:cNvPr>
          <p:cNvSpPr txBox="1"/>
          <p:nvPr/>
        </p:nvSpPr>
        <p:spPr>
          <a:xfrm>
            <a:off x="0" y="6538912"/>
            <a:ext cx="18886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mage Credits: NASA</a:t>
            </a:r>
          </a:p>
        </p:txBody>
      </p:sp>
    </p:spTree>
    <p:extLst>
      <p:ext uri="{BB962C8B-B14F-4D97-AF65-F5344CB8AC3E}">
        <p14:creationId xmlns:p14="http://schemas.microsoft.com/office/powerpoint/2010/main" val="32104268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520B3F-C7D6-46E3-8C67-98369F584E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-Space Manufactur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B4B64-8A31-41A0-912C-BBAC766583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A45933-0F97-4B24-BC4B-C5BF835C6785}" type="slidenum">
              <a:rPr lang="en-US" smtClean="0"/>
              <a:t>14</a:t>
            </a:fld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7E04579-8204-4EFE-A5CF-BA849562ACBA}"/>
              </a:ext>
            </a:extLst>
          </p:cNvPr>
          <p:cNvGrpSpPr/>
          <p:nvPr/>
        </p:nvGrpSpPr>
        <p:grpSpPr>
          <a:xfrm>
            <a:off x="556667" y="1446831"/>
            <a:ext cx="1992585" cy="1982169"/>
            <a:chOff x="1971151" y="374021"/>
            <a:chExt cx="2877102" cy="2877102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BB980312-2568-4E72-B6A3-622D4998986E}"/>
                </a:ext>
              </a:extLst>
            </p:cNvPr>
            <p:cNvSpPr/>
            <p:nvPr/>
          </p:nvSpPr>
          <p:spPr>
            <a:xfrm>
              <a:off x="1971151" y="374021"/>
              <a:ext cx="2877102" cy="287710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FBD1BD0-FBF0-4B58-AF51-D7B851740E0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EFDF9"/>
                </a:clrFrom>
                <a:clrTo>
                  <a:srgbClr val="FEFDF9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53004" y="447762"/>
              <a:ext cx="2743200" cy="2743200"/>
            </a:xfrm>
            <a:prstGeom prst="rect">
              <a:avLst/>
            </a:prstGeom>
          </p:spPr>
        </p:pic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086C794D-1760-4914-86C3-EA066864F30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33" t="18699" r="15000" b="17448"/>
          <a:stretch/>
        </p:blipFill>
        <p:spPr>
          <a:xfrm>
            <a:off x="3055742" y="1507415"/>
            <a:ext cx="2807343" cy="192158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6A5B553-6A41-46E1-946D-09741974343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24" t="3237" r="4282" b="5228"/>
          <a:stretch/>
        </p:blipFill>
        <p:spPr>
          <a:xfrm>
            <a:off x="361950" y="3506756"/>
            <a:ext cx="2025168" cy="2205477"/>
          </a:xfrm>
          <a:prstGeom prst="rect">
            <a:avLst/>
          </a:prstGeom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E3FCEF6E-189C-4A2F-8E1C-325FDF9B4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9252" y="3506758"/>
            <a:ext cx="3313833" cy="22054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F4DCC71-49FA-4D3C-BB8E-2762B14A14A6}"/>
              </a:ext>
            </a:extLst>
          </p:cNvPr>
          <p:cNvSpPr txBox="1"/>
          <p:nvPr/>
        </p:nvSpPr>
        <p:spPr>
          <a:xfrm>
            <a:off x="1677242" y="5981490"/>
            <a:ext cx="28777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anufacturing in a Habitat</a:t>
            </a: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B9776AF6-340B-413B-8E09-6DA877EA12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795"/>
          <a:stretch/>
        </p:blipFill>
        <p:spPr bwMode="auto">
          <a:xfrm>
            <a:off x="6328917" y="1507415"/>
            <a:ext cx="5565124" cy="4204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115C40A5-C099-4AEC-92D9-6C859FF4943C}"/>
              </a:ext>
            </a:extLst>
          </p:cNvPr>
          <p:cNvSpPr txBox="1"/>
          <p:nvPr/>
        </p:nvSpPr>
        <p:spPr>
          <a:xfrm>
            <a:off x="7951743" y="5981490"/>
            <a:ext cx="27836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anufacturing in Vacuum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3E52B09-DF1A-4529-9145-B4BC1261534D}"/>
              </a:ext>
            </a:extLst>
          </p:cNvPr>
          <p:cNvSpPr txBox="1"/>
          <p:nvPr/>
        </p:nvSpPr>
        <p:spPr>
          <a:xfrm>
            <a:off x="6328917" y="5450623"/>
            <a:ext cx="171072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Credit: Made in Space, Inc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4272930-1EF9-4DFC-8915-80AB171837C6}"/>
              </a:ext>
            </a:extLst>
          </p:cNvPr>
          <p:cNvSpPr txBox="1"/>
          <p:nvPr/>
        </p:nvSpPr>
        <p:spPr>
          <a:xfrm>
            <a:off x="3974426" y="5385196"/>
            <a:ext cx="18886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Credits: NASA</a:t>
            </a:r>
          </a:p>
        </p:txBody>
      </p:sp>
    </p:spTree>
    <p:extLst>
      <p:ext uri="{BB962C8B-B14F-4D97-AF65-F5344CB8AC3E}">
        <p14:creationId xmlns:p14="http://schemas.microsoft.com/office/powerpoint/2010/main" val="5259536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1FFF23-A782-4E6E-8DDA-FA3FFBD285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rface Construction and Oper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C542AF-A923-4FC5-B338-2CE623D09D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638" y="1162050"/>
            <a:ext cx="5906304" cy="1661981"/>
          </a:xfrm>
        </p:spPr>
        <p:txBody>
          <a:bodyPr anchor="ctr">
            <a:normAutofit/>
          </a:bodyPr>
          <a:lstStyle/>
          <a:p>
            <a:r>
              <a:rPr lang="en-US" sz="2400" dirty="0"/>
              <a:t>Capabilities to offload and manipulate payloads on the surface</a:t>
            </a:r>
          </a:p>
          <a:p>
            <a:r>
              <a:rPr lang="en-US" sz="2400" dirty="0"/>
              <a:t>Horizontal and vertical constru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397E86-F379-48FD-9F68-47E0D4DEE4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A45933-0F97-4B24-BC4B-C5BF835C6785}" type="slidenum">
              <a:rPr lang="en-US" smtClean="0"/>
              <a:t>15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AE9886-1B4A-4904-B471-14CD4A2669F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51" t="2076" b="8536"/>
          <a:stretch/>
        </p:blipFill>
        <p:spPr>
          <a:xfrm>
            <a:off x="6555943" y="1300002"/>
            <a:ext cx="4987943" cy="2305421"/>
          </a:xfrm>
          <a:prstGeom prst="rect">
            <a:avLst/>
          </a:prstGeom>
        </p:spPr>
      </p:pic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6768B17D-5F40-4515-B5CC-A674FACEE3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5942" y="3713172"/>
            <a:ext cx="4987943" cy="281113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F0A51A5-CBE1-4EFE-AB58-FDB3689DAF6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47183" y="2824030"/>
            <a:ext cx="2772145" cy="370055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F419D6A-9505-4988-B046-CB103280A53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9638" y="2824030"/>
            <a:ext cx="2860930" cy="370055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8587CC3-D3A1-4AB6-BF3F-836B9A886D10}"/>
              </a:ext>
            </a:extLst>
          </p:cNvPr>
          <p:cNvSpPr txBox="1"/>
          <p:nvPr/>
        </p:nvSpPr>
        <p:spPr>
          <a:xfrm>
            <a:off x="0" y="6538912"/>
            <a:ext cx="18886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mage Credits: NASA</a:t>
            </a:r>
          </a:p>
        </p:txBody>
      </p:sp>
    </p:spTree>
    <p:extLst>
      <p:ext uri="{BB962C8B-B14F-4D97-AF65-F5344CB8AC3E}">
        <p14:creationId xmlns:p14="http://schemas.microsoft.com/office/powerpoint/2010/main" val="19186733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264" b="5264"/>
          <a:stretch/>
        </p:blipFill>
        <p:spPr>
          <a:xfrm>
            <a:off x="2150091" y="1358000"/>
            <a:ext cx="4772055" cy="2162668"/>
          </a:xfrm>
          <a:prstGeom prst="rect">
            <a:avLst/>
          </a:prstGeom>
        </p:spPr>
      </p:pic>
      <p:pic>
        <p:nvPicPr>
          <p:cNvPr id="9" name="Content Placeholder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50090" y="3575994"/>
            <a:ext cx="3855908" cy="217313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433" t="12541" b="5264"/>
          <a:stretch/>
        </p:blipFill>
        <p:spPr>
          <a:xfrm>
            <a:off x="6075905" y="3581854"/>
            <a:ext cx="3823551" cy="216727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96125" y="1358000"/>
            <a:ext cx="2903331" cy="2167276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Future Built Around OSA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953CACB3-1301-4813-B6DD-FB014763EE83}" type="slidenum">
              <a:rPr lang="en-US" smtClean="0"/>
              <a:pPr algn="r"/>
              <a:t>16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22CAC7A-D4C4-40EB-B96F-D8AA5C3732F9}"/>
              </a:ext>
            </a:extLst>
          </p:cNvPr>
          <p:cNvSpPr/>
          <p:nvPr/>
        </p:nvSpPr>
        <p:spPr bwMode="auto">
          <a:xfrm>
            <a:off x="1524000" y="5969045"/>
            <a:ext cx="9144000" cy="604293"/>
          </a:xfrm>
          <a:prstGeom prst="rect">
            <a:avLst/>
          </a:prstGeom>
          <a:solidFill>
            <a:srgbClr val="0B3D9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50000"/>
              </a:spcBef>
            </a:pPr>
            <a:r>
              <a:rPr lang="en-US" sz="1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SAM capabilities are the foundation for sustainable exploration and operations: </a:t>
            </a:r>
            <a:br>
              <a:rPr lang="en-US" sz="1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ueling, maintenance, repair, assembly, spares manufacturing, ISRU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C116885-9838-41F0-BB8F-AC8F97E71F37}"/>
              </a:ext>
            </a:extLst>
          </p:cNvPr>
          <p:cNvSpPr txBox="1"/>
          <p:nvPr/>
        </p:nvSpPr>
        <p:spPr>
          <a:xfrm>
            <a:off x="0" y="6538912"/>
            <a:ext cx="18886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mage Credits: NASA</a:t>
            </a:r>
          </a:p>
        </p:txBody>
      </p:sp>
    </p:spTree>
    <p:extLst>
      <p:ext uri="{BB962C8B-B14F-4D97-AF65-F5344CB8AC3E}">
        <p14:creationId xmlns:p14="http://schemas.microsoft.com/office/powerpoint/2010/main" val="16214438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/>
              <a:t>On-orbit Servicing, Assembly, and Manufacturing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51B4C41-5932-4578-AF9E-C8FAF790478A}"/>
              </a:ext>
            </a:extLst>
          </p:cNvPr>
          <p:cNvSpPr/>
          <p:nvPr/>
        </p:nvSpPr>
        <p:spPr bwMode="auto">
          <a:xfrm>
            <a:off x="361951" y="1413165"/>
            <a:ext cx="6101194" cy="5029199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Tx/>
              <a:buSzTx/>
              <a:tabLst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OSAM is an emerging set of capabilities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that enables inspection, repair, upgrade, modular assembly, and construction of space assets</a:t>
            </a:r>
          </a:p>
          <a:p>
            <a:pPr marL="285750" marR="0" indent="-285750" defTabSz="914400" rtl="0" eaLnBrk="1" fontAlgn="base" latinLnBrk="0" hangingPunct="1">
              <a:lnSpc>
                <a:spcPct val="100000"/>
              </a:lnSpc>
              <a:spcBef>
                <a:spcPts val="24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2000" b="1" i="1" dirty="0">
                <a:latin typeface="Arial" panose="020B0604020202020204" pitchFamily="34" charset="0"/>
                <a:cs typeface="Arial" panose="020B0604020202020204" pitchFamily="34" charset="0"/>
              </a:rPr>
              <a:t>Servicing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is the alteration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of a spacecraft after its initial launch using another spacecraft</a:t>
            </a:r>
          </a:p>
          <a:p>
            <a:pPr marL="285750" marR="0" indent="-285750" defTabSz="914400" rtl="0" eaLnBrk="1" fontAlgn="base" latinLnBrk="0" hangingPunct="1">
              <a:lnSpc>
                <a:spcPct val="100000"/>
              </a:lnSpc>
              <a:spcBef>
                <a:spcPts val="24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2000" b="1" i="1" dirty="0">
                <a:latin typeface="Arial" panose="020B0604020202020204" pitchFamily="34" charset="0"/>
                <a:cs typeface="Arial" panose="020B0604020202020204" pitchFamily="34" charset="0"/>
              </a:rPr>
              <a:t>Assembly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involves aggregation of components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to create a spacecraft that cannot be achieved with traditional deployment methods and available launch vehicles </a:t>
            </a:r>
            <a:endParaRPr lang="en-US" sz="20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indent="-285750" defTabSz="914400" rtl="0" eaLnBrk="1" fontAlgn="base" latinLnBrk="0" hangingPunct="1">
              <a:lnSpc>
                <a:spcPct val="100000"/>
              </a:lnSpc>
              <a:spcBef>
                <a:spcPts val="24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2000" b="1" i="1" dirty="0">
                <a:latin typeface="Arial" panose="020B0604020202020204" pitchFamily="34" charset="0"/>
                <a:cs typeface="Arial" panose="020B0604020202020204" pitchFamily="34" charset="0"/>
              </a:rPr>
              <a:t>Manufacturing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involves transformation of raw materials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into usable spacecraft components </a:t>
            </a:r>
            <a:endParaRPr lang="en-US" sz="2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6960175" y="1413165"/>
            <a:ext cx="5029200" cy="5029200"/>
            <a:chOff x="7024254" y="1600201"/>
            <a:chExt cx="5029200" cy="5029200"/>
          </a:xfrm>
        </p:grpSpPr>
        <p:sp>
          <p:nvSpPr>
            <p:cNvPr id="6" name="Oval 5"/>
            <p:cNvSpPr/>
            <p:nvPr/>
          </p:nvSpPr>
          <p:spPr>
            <a:xfrm>
              <a:off x="7024254" y="1600201"/>
              <a:ext cx="5029200" cy="5029200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Oval 6"/>
            <p:cNvSpPr/>
            <p:nvPr/>
          </p:nvSpPr>
          <p:spPr>
            <a:xfrm>
              <a:off x="7263246" y="2241550"/>
              <a:ext cx="4114800" cy="4114800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Oval 7"/>
            <p:cNvSpPr/>
            <p:nvPr/>
          </p:nvSpPr>
          <p:spPr>
            <a:xfrm>
              <a:off x="7540768" y="2936875"/>
              <a:ext cx="3200400" cy="32004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Oval 8"/>
            <p:cNvSpPr/>
            <p:nvPr/>
          </p:nvSpPr>
          <p:spPr>
            <a:xfrm>
              <a:off x="7949046" y="4435476"/>
              <a:ext cx="1371600" cy="1371600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2000" dirty="0">
                  <a:latin typeface="Arial" panose="020B0604020202020204" pitchFamily="34" charset="0"/>
                  <a:cs typeface="Arial" panose="020B0604020202020204" pitchFamily="34" charset="0"/>
                </a:rPr>
                <a:t>Current</a:t>
              </a:r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8410640" y="3486121"/>
              <a:ext cx="146065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+ Servicing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8569350" y="2462197"/>
              <a:ext cx="150259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+ Assembly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8524794" y="1777911"/>
              <a:ext cx="202811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+ Manufacturing</a:t>
              </a: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BB832F-2798-46AB-835A-A5B9CB252F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A45933-0F97-4B24-BC4B-C5BF835C678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6146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F806765-13AF-4F28-8171-44EBAA32D7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F806765-13AF-4F28-8171-44EBAA32D7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30B99C0-492D-4B74-BCE3-43BCD728596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3C75ADD-C577-4D3E-A322-70132A1E8C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NASA’s Rich Legacy of OSAM Missions</a:t>
            </a: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722CAC7A-D4C4-40EB-B96F-D8AA5C3732F9}"/>
              </a:ext>
            </a:extLst>
          </p:cNvPr>
          <p:cNvSpPr/>
          <p:nvPr/>
        </p:nvSpPr>
        <p:spPr bwMode="auto">
          <a:xfrm>
            <a:off x="1524000" y="5745204"/>
            <a:ext cx="9152216" cy="637161"/>
          </a:xfrm>
          <a:prstGeom prst="rect">
            <a:avLst/>
          </a:prstGeom>
          <a:solidFill>
            <a:srgbClr val="0B3D91"/>
          </a:solidFill>
          <a:ln w="19050" cap="flat" cmpd="sng" algn="ctr">
            <a:solidFill>
              <a:srgbClr val="1E6DE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50000"/>
              </a:spcBef>
            </a:pPr>
            <a:r>
              <a:rPr lang="en-US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SA has a deep heritage with OSAM, both internally and </a:t>
            </a:r>
            <a:br>
              <a:rPr lang="en-US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partnership with OGAs and the commercial secto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9C799-3DB4-4A4D-A83A-5A443041BCF4}"/>
              </a:ext>
            </a:extLst>
          </p:cNvPr>
          <p:cNvSpPr/>
          <p:nvPr/>
        </p:nvSpPr>
        <p:spPr bwMode="auto">
          <a:xfrm>
            <a:off x="1617787" y="1232530"/>
            <a:ext cx="8979463" cy="1279658"/>
          </a:xfrm>
          <a:prstGeom prst="rect">
            <a:avLst/>
          </a:prstGeom>
          <a:noFill/>
          <a:ln w="19050" cap="flat" cmpd="sng" algn="ctr">
            <a:solidFill>
              <a:srgbClr val="1E6DE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02D0797-3581-491E-987A-49C0A0B8B328}"/>
              </a:ext>
            </a:extLst>
          </p:cNvPr>
          <p:cNvSpPr/>
          <p:nvPr/>
        </p:nvSpPr>
        <p:spPr bwMode="auto">
          <a:xfrm>
            <a:off x="1572155" y="1232532"/>
            <a:ext cx="333225" cy="1279657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1E6DE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ing</a:t>
            </a:r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8D667AAE-772C-44A5-9B99-F69064C0B667}"/>
              </a:ext>
            </a:extLst>
          </p:cNvPr>
          <p:cNvGrpSpPr/>
          <p:nvPr/>
        </p:nvGrpSpPr>
        <p:grpSpPr>
          <a:xfrm>
            <a:off x="1892687" y="1326923"/>
            <a:ext cx="8629501" cy="1091070"/>
            <a:chOff x="603278" y="1485900"/>
            <a:chExt cx="8206361" cy="1005554"/>
          </a:xfrm>
        </p:grpSpPr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D465C2A7-81F3-4D40-9AE3-3B232D4F5DE5}"/>
                </a:ext>
              </a:extLst>
            </p:cNvPr>
            <p:cNvGrpSpPr/>
            <p:nvPr/>
          </p:nvGrpSpPr>
          <p:grpSpPr>
            <a:xfrm>
              <a:off x="2560834" y="1521382"/>
              <a:ext cx="535012" cy="970072"/>
              <a:chOff x="2560834" y="1713601"/>
              <a:chExt cx="535012" cy="970072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85D9C00F-18AF-47B4-BB05-9B78FFD72793}"/>
                  </a:ext>
                </a:extLst>
              </p:cNvPr>
              <p:cNvSpPr/>
              <p:nvPr/>
            </p:nvSpPr>
            <p:spPr>
              <a:xfrm>
                <a:off x="2560834" y="1713601"/>
                <a:ext cx="535012" cy="527127"/>
              </a:xfrm>
              <a:prstGeom prst="ellipse">
                <a:avLst/>
              </a:prstGeom>
              <a:blipFill>
                <a:blip r:embed="rId8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  <a:ln w="12700">
                <a:solidFill>
                  <a:srgbClr val="332E8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D805E25C-A9B5-42A9-B054-F6932F634380}"/>
                  </a:ext>
                </a:extLst>
              </p:cNvPr>
              <p:cNvSpPr txBox="1"/>
              <p:nvPr/>
            </p:nvSpPr>
            <p:spPr>
              <a:xfrm>
                <a:off x="2561600" y="2286558"/>
                <a:ext cx="533481" cy="3971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b="1" dirty="0">
                    <a:solidFill>
                      <a:srgbClr val="0B3D91"/>
                    </a:solidFill>
                    <a:latin typeface="+mj-lt"/>
                  </a:rPr>
                  <a:t>HOST</a:t>
                </a:r>
              </a:p>
              <a:p>
                <a:pPr algn="ctr"/>
                <a:r>
                  <a:rPr lang="en-US" sz="1100" b="1" dirty="0">
                    <a:solidFill>
                      <a:srgbClr val="0B3D91"/>
                    </a:solidFill>
                    <a:latin typeface="+mj-lt"/>
                  </a:rPr>
                  <a:t>1998</a:t>
                </a:r>
              </a:p>
            </p:txBody>
          </p:sp>
        </p:grp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92AAB22A-A188-442A-8CFB-061E141CF28F}"/>
                </a:ext>
              </a:extLst>
            </p:cNvPr>
            <p:cNvGrpSpPr/>
            <p:nvPr/>
          </p:nvGrpSpPr>
          <p:grpSpPr>
            <a:xfrm>
              <a:off x="603278" y="1517439"/>
              <a:ext cx="773832" cy="974015"/>
              <a:chOff x="603278" y="1709658"/>
              <a:chExt cx="773832" cy="974015"/>
            </a:xfrm>
          </p:grpSpPr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1414B932-7C16-4259-8547-FB8EF8C8FAD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23391" y="1709658"/>
                <a:ext cx="524470" cy="535012"/>
              </a:xfrm>
              <a:prstGeom prst="rect">
                <a:avLst/>
              </a:prstGeom>
            </p:spPr>
          </p:pic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E63FA597-77D9-4CB4-A573-B385EC2970E8}"/>
                  </a:ext>
                </a:extLst>
              </p:cNvPr>
              <p:cNvSpPr txBox="1"/>
              <p:nvPr/>
            </p:nvSpPr>
            <p:spPr>
              <a:xfrm>
                <a:off x="603278" y="2286558"/>
                <a:ext cx="773832" cy="3971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b="1" dirty="0">
                    <a:solidFill>
                      <a:srgbClr val="0B3D91"/>
                    </a:solidFill>
                    <a:latin typeface="+mj-lt"/>
                  </a:rPr>
                  <a:t>Solar Max</a:t>
                </a:r>
              </a:p>
              <a:p>
                <a:pPr algn="ctr"/>
                <a:r>
                  <a:rPr lang="en-US" sz="1100" b="1" dirty="0">
                    <a:solidFill>
                      <a:srgbClr val="0B3D91"/>
                    </a:solidFill>
                    <a:latin typeface="+mj-lt"/>
                  </a:rPr>
                  <a:t>1984</a:t>
                </a:r>
              </a:p>
            </p:txBody>
          </p:sp>
        </p:grp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38763D90-C77C-480B-9EC3-177BC49916CC}"/>
                </a:ext>
              </a:extLst>
            </p:cNvPr>
            <p:cNvGrpSpPr/>
            <p:nvPr/>
          </p:nvGrpSpPr>
          <p:grpSpPr>
            <a:xfrm>
              <a:off x="1310353" y="1517439"/>
              <a:ext cx="562182" cy="974015"/>
              <a:chOff x="1310353" y="1709658"/>
              <a:chExt cx="562182" cy="974015"/>
            </a:xfrm>
          </p:grpSpPr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E9A5F1ED-D2E9-4308-B5CB-CEF7F220A2D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325868" y="1709658"/>
                <a:ext cx="535013" cy="535013"/>
              </a:xfrm>
              <a:prstGeom prst="ellipse">
                <a:avLst/>
              </a:prstGeom>
            </p:spPr>
          </p:pic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16C3C087-75FA-4D32-83D6-EDBA9DD5B716}"/>
                  </a:ext>
                </a:extLst>
              </p:cNvPr>
              <p:cNvSpPr txBox="1"/>
              <p:nvPr/>
            </p:nvSpPr>
            <p:spPr>
              <a:xfrm>
                <a:off x="1310353" y="2286558"/>
                <a:ext cx="562182" cy="3971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b="1" dirty="0">
                    <a:solidFill>
                      <a:srgbClr val="0B3D91"/>
                    </a:solidFill>
                    <a:latin typeface="+mj-lt"/>
                  </a:rPr>
                  <a:t>HSM1</a:t>
                </a:r>
              </a:p>
              <a:p>
                <a:pPr algn="ctr"/>
                <a:r>
                  <a:rPr lang="en-US" sz="1100" b="1" dirty="0">
                    <a:solidFill>
                      <a:srgbClr val="0B3D91"/>
                    </a:solidFill>
                    <a:latin typeface="+mj-lt"/>
                  </a:rPr>
                  <a:t>1993</a:t>
                </a:r>
              </a:p>
            </p:txBody>
          </p:sp>
        </p:grp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89B8F469-5661-4BB4-BA72-B5F95D4A938B}"/>
                </a:ext>
              </a:extLst>
            </p:cNvPr>
            <p:cNvGrpSpPr/>
            <p:nvPr/>
          </p:nvGrpSpPr>
          <p:grpSpPr>
            <a:xfrm>
              <a:off x="1812002" y="1517438"/>
              <a:ext cx="784924" cy="974016"/>
              <a:chOff x="1812002" y="1709657"/>
              <a:chExt cx="784924" cy="974016"/>
            </a:xfrm>
          </p:grpSpPr>
          <p:pic>
            <p:nvPicPr>
              <p:cNvPr id="45" name="Picture 44">
                <a:extLst>
                  <a:ext uri="{FF2B5EF4-FFF2-40B4-BE49-F238E27FC236}">
                    <a16:creationId xmlns:a16="http://schemas.microsoft.com/office/drawing/2014/main" id="{AF0AAB7B-4B45-452C-9FA8-8B1349C1898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938888" y="1709657"/>
                <a:ext cx="535014" cy="535014"/>
              </a:xfrm>
              <a:prstGeom prst="ellipse">
                <a:avLst/>
              </a:prstGeom>
            </p:spPr>
          </p:pic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E741073D-18B5-4049-9ACE-D232FC79ED99}"/>
                  </a:ext>
                </a:extLst>
              </p:cNvPr>
              <p:cNvSpPr txBox="1"/>
              <p:nvPr/>
            </p:nvSpPr>
            <p:spPr>
              <a:xfrm>
                <a:off x="1812002" y="2286558"/>
                <a:ext cx="784924" cy="3971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b="1" dirty="0">
                    <a:solidFill>
                      <a:srgbClr val="0B3D91"/>
                    </a:solidFill>
                    <a:latin typeface="+mj-lt"/>
                  </a:rPr>
                  <a:t>HSM2</a:t>
                </a:r>
              </a:p>
              <a:p>
                <a:pPr algn="ctr"/>
                <a:r>
                  <a:rPr lang="en-US" sz="1100" b="1" dirty="0">
                    <a:solidFill>
                      <a:srgbClr val="0B3D91"/>
                    </a:solidFill>
                    <a:latin typeface="+mj-lt"/>
                  </a:rPr>
                  <a:t>1997</a:t>
                </a:r>
              </a:p>
            </p:txBody>
          </p:sp>
        </p:grpSp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75591BB7-984B-4A62-9C04-CCDE5B127B73}"/>
                </a:ext>
              </a:extLst>
            </p:cNvPr>
            <p:cNvGrpSpPr/>
            <p:nvPr/>
          </p:nvGrpSpPr>
          <p:grpSpPr>
            <a:xfrm>
              <a:off x="3144364" y="1523991"/>
              <a:ext cx="582167" cy="967463"/>
              <a:chOff x="3144364" y="1716210"/>
              <a:chExt cx="582167" cy="967463"/>
            </a:xfrm>
          </p:grpSpPr>
          <p:pic>
            <p:nvPicPr>
              <p:cNvPr id="51" name="Picture 50">
                <a:extLst>
                  <a:ext uri="{FF2B5EF4-FFF2-40B4-BE49-F238E27FC236}">
                    <a16:creationId xmlns:a16="http://schemas.microsoft.com/office/drawing/2014/main" id="{6C4D8C73-44E0-49AA-9E05-F508AD5D44A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172794" y="1716210"/>
                <a:ext cx="527147" cy="529816"/>
              </a:xfrm>
              <a:prstGeom prst="ellipse">
                <a:avLst/>
              </a:prstGeom>
            </p:spPr>
          </p:pic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0AC1F4ED-1381-49C6-AA99-C2BF8598E061}"/>
                  </a:ext>
                </a:extLst>
              </p:cNvPr>
              <p:cNvSpPr txBox="1"/>
              <p:nvPr/>
            </p:nvSpPr>
            <p:spPr>
              <a:xfrm>
                <a:off x="3144364" y="2286558"/>
                <a:ext cx="582167" cy="3971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b="1" dirty="0">
                    <a:solidFill>
                      <a:srgbClr val="0B3D91"/>
                    </a:solidFill>
                    <a:latin typeface="+mj-lt"/>
                  </a:rPr>
                  <a:t>HSA3A</a:t>
                </a:r>
              </a:p>
              <a:p>
                <a:pPr algn="ctr"/>
                <a:r>
                  <a:rPr lang="en-US" sz="1100" b="1" dirty="0">
                    <a:solidFill>
                      <a:srgbClr val="0B3D91"/>
                    </a:solidFill>
                    <a:latin typeface="+mj-lt"/>
                  </a:rPr>
                  <a:t>1999</a:t>
                </a:r>
              </a:p>
            </p:txBody>
          </p:sp>
        </p:grpSp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712CFC99-C553-44B4-A10A-3CE34DBA2BE7}"/>
                </a:ext>
              </a:extLst>
            </p:cNvPr>
            <p:cNvGrpSpPr/>
            <p:nvPr/>
          </p:nvGrpSpPr>
          <p:grpSpPr>
            <a:xfrm>
              <a:off x="3737033" y="1485900"/>
              <a:ext cx="620152" cy="1005554"/>
              <a:chOff x="3737033" y="1678119"/>
              <a:chExt cx="620152" cy="1005554"/>
            </a:xfrm>
          </p:grpSpPr>
          <p:pic>
            <p:nvPicPr>
              <p:cNvPr id="56" name="Picture 55">
                <a:extLst>
                  <a:ext uri="{FF2B5EF4-FFF2-40B4-BE49-F238E27FC236}">
                    <a16:creationId xmlns:a16="http://schemas.microsoft.com/office/drawing/2014/main" id="{3640C3B5-6252-4068-9E88-5D55587673E1}"/>
                  </a:ext>
                </a:extLst>
              </p:cNvPr>
              <p:cNvPicPr>
                <a:picLocks/>
              </p:cNvPicPr>
              <p:nvPr/>
            </p:nvPicPr>
            <p:blipFill rotWithShape="1">
              <a:blip r:embed="rId13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777949" y="1678119"/>
                <a:ext cx="533481" cy="598091"/>
              </a:xfrm>
              <a:prstGeom prst="rect">
                <a:avLst/>
              </a:prstGeom>
            </p:spPr>
          </p:pic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B7D752E2-C1A7-495C-8555-33093FB6BDD3}"/>
                  </a:ext>
                </a:extLst>
              </p:cNvPr>
              <p:cNvSpPr txBox="1"/>
              <p:nvPr/>
            </p:nvSpPr>
            <p:spPr>
              <a:xfrm>
                <a:off x="3737033" y="2286558"/>
                <a:ext cx="620152" cy="3971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b="1" dirty="0">
                    <a:solidFill>
                      <a:srgbClr val="0B3D91"/>
                    </a:solidFill>
                    <a:latin typeface="+mj-lt"/>
                  </a:rPr>
                  <a:t>HSM3B</a:t>
                </a:r>
              </a:p>
              <a:p>
                <a:pPr algn="ctr"/>
                <a:r>
                  <a:rPr lang="en-US" sz="1100" b="1" dirty="0">
                    <a:solidFill>
                      <a:srgbClr val="0B3D91"/>
                    </a:solidFill>
                    <a:latin typeface="+mj-lt"/>
                  </a:rPr>
                  <a:t>2002</a:t>
                </a:r>
              </a:p>
            </p:txBody>
          </p:sp>
        </p:grpSp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1097EAAC-E050-44DA-98CC-A8B35ABF02D0}"/>
                </a:ext>
              </a:extLst>
            </p:cNvPr>
            <p:cNvGrpSpPr/>
            <p:nvPr/>
          </p:nvGrpSpPr>
          <p:grpSpPr>
            <a:xfrm>
              <a:off x="5639998" y="1517437"/>
              <a:ext cx="562682" cy="974017"/>
              <a:chOff x="5639998" y="1709656"/>
              <a:chExt cx="562682" cy="974017"/>
            </a:xfrm>
          </p:grpSpPr>
          <p:pic>
            <p:nvPicPr>
              <p:cNvPr id="67" name="Picture 66">
                <a:extLst>
                  <a:ext uri="{FF2B5EF4-FFF2-40B4-BE49-F238E27FC236}">
                    <a16:creationId xmlns:a16="http://schemas.microsoft.com/office/drawing/2014/main" id="{A10ED779-54B2-422D-AE31-0D2FE0B99D3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4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653440" y="1709656"/>
                <a:ext cx="549240" cy="565693"/>
              </a:xfrm>
              <a:prstGeom prst="ellipse">
                <a:avLst/>
              </a:prstGeom>
            </p:spPr>
          </p:pic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6D40138F-D51C-4146-ACD7-6585F61C7D78}"/>
                  </a:ext>
                </a:extLst>
              </p:cNvPr>
              <p:cNvSpPr txBox="1"/>
              <p:nvPr/>
            </p:nvSpPr>
            <p:spPr>
              <a:xfrm>
                <a:off x="5639998" y="2286558"/>
                <a:ext cx="535819" cy="3971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b="1" dirty="0">
                    <a:solidFill>
                      <a:srgbClr val="0B3D91"/>
                    </a:solidFill>
                    <a:latin typeface="+mj-lt"/>
                  </a:rPr>
                  <a:t>HSM4</a:t>
                </a:r>
              </a:p>
              <a:p>
                <a:pPr algn="ctr"/>
                <a:r>
                  <a:rPr lang="en-US" sz="1100" b="1" dirty="0">
                    <a:solidFill>
                      <a:srgbClr val="0B3D91"/>
                    </a:solidFill>
                    <a:latin typeface="+mj-lt"/>
                  </a:rPr>
                  <a:t>2009</a:t>
                </a:r>
              </a:p>
            </p:txBody>
          </p:sp>
        </p:grp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4DDE7A16-EAB9-4A81-9BE4-C7B067A9CDD4}"/>
                </a:ext>
              </a:extLst>
            </p:cNvPr>
            <p:cNvGrpSpPr/>
            <p:nvPr/>
          </p:nvGrpSpPr>
          <p:grpSpPr>
            <a:xfrm>
              <a:off x="6050280" y="1538809"/>
              <a:ext cx="1004002" cy="952645"/>
              <a:chOff x="6050280" y="1731028"/>
              <a:chExt cx="1004002" cy="952645"/>
            </a:xfrm>
          </p:grpSpPr>
          <p:pic>
            <p:nvPicPr>
              <p:cNvPr id="72" name="Picture 71">
                <a:extLst>
                  <a:ext uri="{FF2B5EF4-FFF2-40B4-BE49-F238E27FC236}">
                    <a16:creationId xmlns:a16="http://schemas.microsoft.com/office/drawing/2014/main" id="{9F2C957C-38A3-4ECB-9754-942CFCCFD4B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5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266611" y="1731028"/>
                <a:ext cx="544906" cy="529328"/>
              </a:xfrm>
              <a:prstGeom prst="ellipse">
                <a:avLst/>
              </a:prstGeom>
            </p:spPr>
          </p:pic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ABC84B5B-3C11-4B1B-AD4B-C53FA9F5A145}"/>
                  </a:ext>
                </a:extLst>
              </p:cNvPr>
              <p:cNvSpPr txBox="1"/>
              <p:nvPr/>
            </p:nvSpPr>
            <p:spPr>
              <a:xfrm>
                <a:off x="6050280" y="2286558"/>
                <a:ext cx="1004002" cy="3971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b="1" dirty="0">
                    <a:solidFill>
                      <a:srgbClr val="0B3D91"/>
                    </a:solidFill>
                    <a:latin typeface="+mj-lt"/>
                  </a:rPr>
                  <a:t>RRM-1,2,3</a:t>
                </a:r>
              </a:p>
              <a:p>
                <a:pPr algn="ctr"/>
                <a:r>
                  <a:rPr lang="en-US" sz="1100" b="1" dirty="0">
                    <a:solidFill>
                      <a:srgbClr val="0B3D91"/>
                    </a:solidFill>
                    <a:latin typeface="+mj-lt"/>
                  </a:rPr>
                  <a:t>2011-18</a:t>
                </a:r>
              </a:p>
            </p:txBody>
          </p:sp>
        </p:grp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3AC987CE-5658-4110-9321-AF6C58FE8F46}"/>
                </a:ext>
              </a:extLst>
            </p:cNvPr>
            <p:cNvGrpSpPr/>
            <p:nvPr/>
          </p:nvGrpSpPr>
          <p:grpSpPr>
            <a:xfrm>
              <a:off x="4333117" y="1523991"/>
              <a:ext cx="645471" cy="967463"/>
              <a:chOff x="4333117" y="1716210"/>
              <a:chExt cx="645471" cy="967463"/>
            </a:xfrm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19DAC586-A9F6-4D2C-92E1-32D5972CE685}"/>
                  </a:ext>
                </a:extLst>
              </p:cNvPr>
              <p:cNvSpPr/>
              <p:nvPr/>
            </p:nvSpPr>
            <p:spPr>
              <a:xfrm>
                <a:off x="4389437" y="1716210"/>
                <a:ext cx="532532" cy="521908"/>
              </a:xfrm>
              <a:prstGeom prst="ellipse">
                <a:avLst/>
              </a:prstGeom>
              <a:blipFill>
                <a:blip r:embed="rId16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  <a:ln w="12700">
                <a:solidFill>
                  <a:srgbClr val="332E8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F1B5296D-F2DE-4D71-8A02-D0125C16B230}"/>
                  </a:ext>
                </a:extLst>
              </p:cNvPr>
              <p:cNvSpPr txBox="1"/>
              <p:nvPr/>
            </p:nvSpPr>
            <p:spPr>
              <a:xfrm>
                <a:off x="4333117" y="2286558"/>
                <a:ext cx="645471" cy="3971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b="1" dirty="0">
                    <a:solidFill>
                      <a:srgbClr val="0B3D91"/>
                    </a:solidFill>
                    <a:latin typeface="+mj-lt"/>
                  </a:rPr>
                  <a:t>HRSDM</a:t>
                </a:r>
              </a:p>
              <a:p>
                <a:pPr algn="ctr"/>
                <a:r>
                  <a:rPr lang="en-US" sz="1100" b="1" dirty="0">
                    <a:solidFill>
                      <a:srgbClr val="0B3D91"/>
                    </a:solidFill>
                    <a:latin typeface="+mj-lt"/>
                  </a:rPr>
                  <a:t>2005</a:t>
                </a:r>
              </a:p>
            </p:txBody>
          </p:sp>
        </p:grpSp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9CCD8C53-37A2-4A8A-B7D8-8644AD91A71A}"/>
                </a:ext>
              </a:extLst>
            </p:cNvPr>
            <p:cNvGrpSpPr/>
            <p:nvPr/>
          </p:nvGrpSpPr>
          <p:grpSpPr>
            <a:xfrm>
              <a:off x="6845121" y="1546013"/>
              <a:ext cx="670490" cy="945441"/>
              <a:chOff x="6845121" y="1738232"/>
              <a:chExt cx="670490" cy="945441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26420311-5C72-4ED4-8456-8861D49D5C66}"/>
                  </a:ext>
                </a:extLst>
              </p:cNvPr>
              <p:cNvSpPr/>
              <p:nvPr/>
            </p:nvSpPr>
            <p:spPr>
              <a:xfrm>
                <a:off x="6867980" y="1738232"/>
                <a:ext cx="533308" cy="522669"/>
              </a:xfrm>
              <a:prstGeom prst="ellipse">
                <a:avLst/>
              </a:prstGeom>
              <a:blipFill>
                <a:blip r:embed="rId17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  <a:ln w="12700">
                <a:solidFill>
                  <a:srgbClr val="332E8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DF2C81D3-B0C7-41A3-A6D9-2D67A1BB79BF}"/>
                  </a:ext>
                </a:extLst>
              </p:cNvPr>
              <p:cNvSpPr txBox="1"/>
              <p:nvPr/>
            </p:nvSpPr>
            <p:spPr>
              <a:xfrm>
                <a:off x="6845121" y="2286558"/>
                <a:ext cx="670490" cy="3971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b="1" dirty="0" err="1">
                    <a:solidFill>
                      <a:srgbClr val="0B3D91"/>
                    </a:solidFill>
                    <a:latin typeface="+mj-lt"/>
                  </a:rPr>
                  <a:t>RROxiTT</a:t>
                </a:r>
                <a:endParaRPr lang="en-US" sz="1100" b="1" dirty="0">
                  <a:solidFill>
                    <a:srgbClr val="0B3D91"/>
                  </a:solidFill>
                  <a:latin typeface="+mj-lt"/>
                </a:endParaRPr>
              </a:p>
              <a:p>
                <a:pPr algn="ctr"/>
                <a:r>
                  <a:rPr lang="en-US" sz="1100" b="1" dirty="0">
                    <a:solidFill>
                      <a:srgbClr val="0B3D91"/>
                    </a:solidFill>
                    <a:latin typeface="+mj-lt"/>
                  </a:rPr>
                  <a:t>2014</a:t>
                </a:r>
              </a:p>
            </p:txBody>
          </p:sp>
        </p:grp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5A99E789-5E14-45A1-AEFF-BF439B8E3A7E}"/>
                </a:ext>
              </a:extLst>
            </p:cNvPr>
            <p:cNvGrpSpPr/>
            <p:nvPr/>
          </p:nvGrpSpPr>
          <p:grpSpPr>
            <a:xfrm>
              <a:off x="7366751" y="1538809"/>
              <a:ext cx="784924" cy="952645"/>
              <a:chOff x="7366751" y="1731028"/>
              <a:chExt cx="784924" cy="952645"/>
            </a:xfrm>
          </p:grpSpPr>
          <p:pic>
            <p:nvPicPr>
              <p:cNvPr id="90" name="Picture 89">
                <a:extLst>
                  <a:ext uri="{FF2B5EF4-FFF2-40B4-BE49-F238E27FC236}">
                    <a16:creationId xmlns:a16="http://schemas.microsoft.com/office/drawing/2014/main" id="{800BBD1A-293B-4D4A-8538-3A10F38BDAA7}"/>
                  </a:ext>
                </a:extLst>
              </p:cNvPr>
              <p:cNvPicPr>
                <a:picLocks/>
              </p:cNvPicPr>
              <p:nvPr/>
            </p:nvPicPr>
            <p:blipFill rotWithShape="1">
              <a:blip r:embed="rId18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482207" y="1731028"/>
                <a:ext cx="554013" cy="537522"/>
              </a:xfrm>
              <a:prstGeom prst="rect">
                <a:avLst/>
              </a:prstGeom>
            </p:spPr>
          </p:pic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C956A320-4289-415B-B83E-8BC84F668FA9}"/>
                  </a:ext>
                </a:extLst>
              </p:cNvPr>
              <p:cNvSpPr txBox="1"/>
              <p:nvPr/>
            </p:nvSpPr>
            <p:spPr>
              <a:xfrm>
                <a:off x="7366751" y="2286558"/>
                <a:ext cx="784924" cy="3971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b="1" dirty="0">
                    <a:solidFill>
                      <a:srgbClr val="0B3D91"/>
                    </a:solidFill>
                    <a:latin typeface="+mj-lt"/>
                  </a:rPr>
                  <a:t>Raven</a:t>
                </a:r>
              </a:p>
              <a:p>
                <a:pPr algn="ctr"/>
                <a:r>
                  <a:rPr lang="en-US" sz="1100" b="1" dirty="0">
                    <a:solidFill>
                      <a:srgbClr val="0B3D91"/>
                    </a:solidFill>
                    <a:latin typeface="+mj-lt"/>
                  </a:rPr>
                  <a:t>2017-19</a:t>
                </a:r>
              </a:p>
            </p:txBody>
          </p:sp>
        </p:grp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B79309E5-F041-4B2B-ABE1-9FC396A6AA47}"/>
                </a:ext>
              </a:extLst>
            </p:cNvPr>
            <p:cNvGrpSpPr/>
            <p:nvPr/>
          </p:nvGrpSpPr>
          <p:grpSpPr>
            <a:xfrm>
              <a:off x="8024715" y="1510680"/>
              <a:ext cx="784924" cy="980774"/>
              <a:chOff x="8024715" y="1702899"/>
              <a:chExt cx="784924" cy="980774"/>
            </a:xfrm>
          </p:grpSpPr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37175255-B46A-4F0F-8E22-547B7B2E4DC3}"/>
                  </a:ext>
                </a:extLst>
              </p:cNvPr>
              <p:cNvSpPr txBox="1"/>
              <p:nvPr/>
            </p:nvSpPr>
            <p:spPr>
              <a:xfrm>
                <a:off x="8024715" y="2286558"/>
                <a:ext cx="784924" cy="3971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b="1" dirty="0">
                    <a:solidFill>
                      <a:schemeClr val="accent1"/>
                    </a:solidFill>
                    <a:latin typeface="+mj-lt"/>
                  </a:rPr>
                  <a:t>OSAM-1</a:t>
                </a:r>
              </a:p>
              <a:p>
                <a:pPr algn="ctr"/>
                <a:r>
                  <a:rPr lang="en-US" sz="1100" b="1" dirty="0">
                    <a:solidFill>
                      <a:schemeClr val="accent1"/>
                    </a:solidFill>
                    <a:latin typeface="+mj-lt"/>
                  </a:rPr>
                  <a:t>LRD 2025</a:t>
                </a:r>
              </a:p>
            </p:txBody>
          </p:sp>
          <p:pic>
            <p:nvPicPr>
              <p:cNvPr id="97" name="Picture 96">
                <a:extLst>
                  <a:ext uri="{FF2B5EF4-FFF2-40B4-BE49-F238E27FC236}">
                    <a16:creationId xmlns:a16="http://schemas.microsoft.com/office/drawing/2014/main" id="{71F8A04D-2A4C-42B4-AEEB-674B3FB82740}"/>
                  </a:ext>
                </a:extLst>
              </p:cNvPr>
              <p:cNvPicPr>
                <a:picLocks/>
              </p:cNvPicPr>
              <p:nvPr/>
            </p:nvPicPr>
            <p:blipFill rotWithShape="1">
              <a:blip r:embed="rId19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8127413" y="1702899"/>
                <a:ext cx="647316" cy="548530"/>
              </a:xfrm>
              <a:prstGeom prst="rect">
                <a:avLst/>
              </a:prstGeom>
            </p:spPr>
          </p:pic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7F47B49E-DAE4-409F-9678-E5011999AF0C}"/>
              </a:ext>
            </a:extLst>
          </p:cNvPr>
          <p:cNvGrpSpPr/>
          <p:nvPr/>
        </p:nvGrpSpPr>
        <p:grpSpPr>
          <a:xfrm>
            <a:off x="6317236" y="1392150"/>
            <a:ext cx="1039939" cy="1024351"/>
            <a:chOff x="4780393" y="1649924"/>
            <a:chExt cx="988946" cy="944064"/>
          </a:xfrm>
        </p:grpSpPr>
        <p:pic>
          <p:nvPicPr>
            <p:cNvPr id="122" name="Picture 121">
              <a:extLst>
                <a:ext uri="{FF2B5EF4-FFF2-40B4-BE49-F238E27FC236}">
                  <a16:creationId xmlns:a16="http://schemas.microsoft.com/office/drawing/2014/main" id="{FAC77338-D52B-47FB-B8B3-A33A6597D963}"/>
                </a:ext>
              </a:extLst>
            </p:cNvPr>
            <p:cNvPicPr>
              <a:picLocks/>
            </p:cNvPicPr>
            <p:nvPr/>
          </p:nvPicPr>
          <p:blipFill rotWithShape="1"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009979" y="1649924"/>
              <a:ext cx="529774" cy="526244"/>
            </a:xfrm>
            <a:prstGeom prst="ellipse">
              <a:avLst/>
            </a:prstGeom>
            <a:ln w="12700">
              <a:solidFill>
                <a:srgbClr val="0B3D91"/>
              </a:solidFill>
            </a:ln>
          </p:spPr>
        </p:pic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5C0B0435-5033-4962-BA85-BB06A428564E}"/>
                </a:ext>
              </a:extLst>
            </p:cNvPr>
            <p:cNvSpPr txBox="1"/>
            <p:nvPr/>
          </p:nvSpPr>
          <p:spPr>
            <a:xfrm>
              <a:off x="4780393" y="2196873"/>
              <a:ext cx="988946" cy="3971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>
                  <a:solidFill>
                    <a:srgbClr val="0B3D91"/>
                  </a:solidFill>
                  <a:latin typeface="+mj-lt"/>
                </a:rPr>
                <a:t>Orb-Express</a:t>
              </a:r>
            </a:p>
            <a:p>
              <a:pPr algn="ctr"/>
              <a:r>
                <a:rPr lang="en-US" sz="1100" b="1" dirty="0">
                  <a:solidFill>
                    <a:srgbClr val="0B3D91"/>
                  </a:solidFill>
                  <a:latin typeface="+mj-lt"/>
                </a:rPr>
                <a:t>2007</a:t>
              </a: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962400F9-236A-4DE7-8645-4F67818CBF76}"/>
              </a:ext>
            </a:extLst>
          </p:cNvPr>
          <p:cNvSpPr/>
          <p:nvPr/>
        </p:nvSpPr>
        <p:spPr bwMode="auto">
          <a:xfrm>
            <a:off x="1620644" y="4310835"/>
            <a:ext cx="8979451" cy="1279657"/>
          </a:xfrm>
          <a:prstGeom prst="rect">
            <a:avLst/>
          </a:prstGeom>
          <a:noFill/>
          <a:ln w="19050" cap="flat" cmpd="sng" algn="ctr">
            <a:solidFill>
              <a:srgbClr val="1E6DE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86FCEC6-65EA-47E0-9F21-4A9E60E873A6}"/>
              </a:ext>
            </a:extLst>
          </p:cNvPr>
          <p:cNvSpPr/>
          <p:nvPr/>
        </p:nvSpPr>
        <p:spPr bwMode="auto">
          <a:xfrm>
            <a:off x="1580323" y="4187075"/>
            <a:ext cx="316886" cy="1527175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1E6DE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ufacturing</a:t>
            </a:r>
          </a:p>
        </p:txBody>
      </p:sp>
      <p:pic>
        <p:nvPicPr>
          <p:cNvPr id="141" name="Picture 140">
            <a:extLst>
              <a:ext uri="{FF2B5EF4-FFF2-40B4-BE49-F238E27FC236}">
                <a16:creationId xmlns:a16="http://schemas.microsoft.com/office/drawing/2014/main" id="{4A1FA525-96C7-4371-A6A0-40AFD57FE32D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90490" y="4460655"/>
            <a:ext cx="603048" cy="611572"/>
          </a:xfrm>
          <a:prstGeom prst="ellipse">
            <a:avLst/>
          </a:prstGeom>
          <a:ln w="19050">
            <a:solidFill>
              <a:srgbClr val="0B3D91"/>
            </a:solidFill>
          </a:ln>
        </p:spPr>
      </p:pic>
      <p:sp>
        <p:nvSpPr>
          <p:cNvPr id="142" name="TextBox 141">
            <a:extLst>
              <a:ext uri="{FF2B5EF4-FFF2-40B4-BE49-F238E27FC236}">
                <a16:creationId xmlns:a16="http://schemas.microsoft.com/office/drawing/2014/main" id="{C85FD715-9B07-4529-BDEE-6552847AE085}"/>
              </a:ext>
            </a:extLst>
          </p:cNvPr>
          <p:cNvSpPr txBox="1"/>
          <p:nvPr/>
        </p:nvSpPr>
        <p:spPr>
          <a:xfrm>
            <a:off x="1823013" y="5083677"/>
            <a:ext cx="154169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rgbClr val="0B3D91"/>
                </a:solidFill>
                <a:latin typeface="+mj-lt"/>
              </a:rPr>
              <a:t>3D Printer Micro-G Exp</a:t>
            </a:r>
          </a:p>
          <a:p>
            <a:pPr algn="ctr"/>
            <a:r>
              <a:rPr lang="en-US" sz="1100" b="1" dirty="0">
                <a:solidFill>
                  <a:srgbClr val="0B3D91"/>
                </a:solidFill>
                <a:latin typeface="+mj-lt"/>
              </a:rPr>
              <a:t>1998-2012</a:t>
            </a:r>
          </a:p>
        </p:txBody>
      </p:sp>
      <p:pic>
        <p:nvPicPr>
          <p:cNvPr id="145" name="Picture 144">
            <a:extLst>
              <a:ext uri="{FF2B5EF4-FFF2-40B4-BE49-F238E27FC236}">
                <a16:creationId xmlns:a16="http://schemas.microsoft.com/office/drawing/2014/main" id="{32FDF330-3995-4FDC-98BA-F5DC7783B239}"/>
              </a:ext>
            </a:extLst>
          </p:cNvPr>
          <p:cNvPicPr>
            <a:picLocks noChangeAspect="1"/>
          </p:cNvPicPr>
          <p:nvPr/>
        </p:nvPicPr>
        <p:blipFill rotWithShape="1"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38103" y="4452939"/>
            <a:ext cx="609663" cy="606157"/>
          </a:xfrm>
          <a:prstGeom prst="ellipse">
            <a:avLst/>
          </a:prstGeom>
          <a:ln w="19050">
            <a:solidFill>
              <a:srgbClr val="0B3D91"/>
            </a:solidFill>
          </a:ln>
        </p:spPr>
      </p:pic>
      <p:sp>
        <p:nvSpPr>
          <p:cNvPr id="146" name="TextBox 145">
            <a:extLst>
              <a:ext uri="{FF2B5EF4-FFF2-40B4-BE49-F238E27FC236}">
                <a16:creationId xmlns:a16="http://schemas.microsoft.com/office/drawing/2014/main" id="{A6984921-65BE-4C84-8F1F-6B6032197A0F}"/>
              </a:ext>
            </a:extLst>
          </p:cNvPr>
          <p:cNvSpPr txBox="1"/>
          <p:nvPr/>
        </p:nvSpPr>
        <p:spPr>
          <a:xfrm>
            <a:off x="3232769" y="5035037"/>
            <a:ext cx="190969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rgbClr val="0B3D91"/>
                </a:solidFill>
                <a:latin typeface="+mj-lt"/>
              </a:rPr>
              <a:t>First 3D Printer </a:t>
            </a:r>
            <a:br>
              <a:rPr lang="en-US" sz="1100" b="1" dirty="0">
                <a:solidFill>
                  <a:srgbClr val="0B3D91"/>
                </a:solidFill>
                <a:latin typeface="+mj-lt"/>
              </a:rPr>
            </a:br>
            <a:r>
              <a:rPr lang="en-US" sz="1100" b="1" dirty="0">
                <a:solidFill>
                  <a:srgbClr val="0B3D91"/>
                </a:solidFill>
                <a:latin typeface="+mj-lt"/>
              </a:rPr>
              <a:t>in Space</a:t>
            </a:r>
          </a:p>
          <a:p>
            <a:pPr algn="ctr"/>
            <a:r>
              <a:rPr lang="en-US" sz="1100" b="1" dirty="0">
                <a:solidFill>
                  <a:srgbClr val="0B3D91"/>
                </a:solidFill>
                <a:latin typeface="+mj-lt"/>
              </a:rPr>
              <a:t>2014</a:t>
            </a:r>
          </a:p>
        </p:txBody>
      </p:sp>
      <p:pic>
        <p:nvPicPr>
          <p:cNvPr id="148" name="Picture 147">
            <a:extLst>
              <a:ext uri="{FF2B5EF4-FFF2-40B4-BE49-F238E27FC236}">
                <a16:creationId xmlns:a16="http://schemas.microsoft.com/office/drawing/2014/main" id="{6AC2328E-C3DF-455F-B036-805664505E37}"/>
              </a:ext>
            </a:extLst>
          </p:cNvPr>
          <p:cNvPicPr>
            <a:picLocks noChangeAspect="1"/>
          </p:cNvPicPr>
          <p:nvPr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322" y="4460655"/>
            <a:ext cx="614052" cy="616866"/>
          </a:xfrm>
          <a:prstGeom prst="ellipse">
            <a:avLst/>
          </a:prstGeom>
          <a:ln w="19050">
            <a:solidFill>
              <a:srgbClr val="0B3D91"/>
            </a:solidFill>
          </a:ln>
        </p:spPr>
      </p:pic>
      <p:sp>
        <p:nvSpPr>
          <p:cNvPr id="149" name="TextBox 148">
            <a:extLst>
              <a:ext uri="{FF2B5EF4-FFF2-40B4-BE49-F238E27FC236}">
                <a16:creationId xmlns:a16="http://schemas.microsoft.com/office/drawing/2014/main" id="{EC9C7509-1C2E-484F-8ACA-638E948C2B1E}"/>
              </a:ext>
            </a:extLst>
          </p:cNvPr>
          <p:cNvSpPr txBox="1"/>
          <p:nvPr/>
        </p:nvSpPr>
        <p:spPr>
          <a:xfrm>
            <a:off x="4560336" y="5042754"/>
            <a:ext cx="176002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rgbClr val="0B3D91"/>
                </a:solidFill>
                <a:latin typeface="+mj-lt"/>
              </a:rPr>
              <a:t>ISS MIS Additive</a:t>
            </a:r>
            <a:br>
              <a:rPr lang="en-US" sz="1100" b="1" dirty="0">
                <a:solidFill>
                  <a:srgbClr val="0B3D91"/>
                </a:solidFill>
                <a:latin typeface="+mj-lt"/>
              </a:rPr>
            </a:br>
            <a:r>
              <a:rPr lang="en-US" sz="1100" b="1" dirty="0">
                <a:solidFill>
                  <a:srgbClr val="0B3D91"/>
                </a:solidFill>
                <a:latin typeface="+mj-lt"/>
              </a:rPr>
              <a:t>Manufacturing Facility </a:t>
            </a:r>
          </a:p>
          <a:p>
            <a:pPr algn="ctr"/>
            <a:r>
              <a:rPr lang="en-US" sz="1100" b="1" dirty="0">
                <a:solidFill>
                  <a:srgbClr val="0B3D91"/>
                </a:solidFill>
                <a:latin typeface="+mj-lt"/>
              </a:rPr>
              <a:t>2016 </a:t>
            </a:r>
          </a:p>
        </p:txBody>
      </p:sp>
      <p:pic>
        <p:nvPicPr>
          <p:cNvPr id="150" name="Picture 149">
            <a:extLst>
              <a:ext uri="{FF2B5EF4-FFF2-40B4-BE49-F238E27FC236}">
                <a16:creationId xmlns:a16="http://schemas.microsoft.com/office/drawing/2014/main" id="{FC8CE697-4F3E-48D1-9D40-C8D6ED348CA1}"/>
              </a:ext>
            </a:extLst>
          </p:cNvPr>
          <p:cNvPicPr>
            <a:picLocks noChangeAspect="1"/>
          </p:cNvPicPr>
          <p:nvPr/>
        </p:nvPicPr>
        <p:blipFill rotWithShape="1"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53" t="65" r="5353" b="25485"/>
          <a:stretch/>
        </p:blipFill>
        <p:spPr>
          <a:xfrm>
            <a:off x="6447609" y="4460656"/>
            <a:ext cx="606363" cy="606157"/>
          </a:xfrm>
          <a:prstGeom prst="ellipse">
            <a:avLst/>
          </a:prstGeom>
          <a:ln w="19050">
            <a:solidFill>
              <a:srgbClr val="0B3D91"/>
            </a:solidFill>
          </a:ln>
        </p:spPr>
      </p:pic>
      <p:sp>
        <p:nvSpPr>
          <p:cNvPr id="151" name="TextBox 150">
            <a:extLst>
              <a:ext uri="{FF2B5EF4-FFF2-40B4-BE49-F238E27FC236}">
                <a16:creationId xmlns:a16="http://schemas.microsoft.com/office/drawing/2014/main" id="{BA92607F-1BB7-43F4-A68C-10B7AD837987}"/>
              </a:ext>
            </a:extLst>
          </p:cNvPr>
          <p:cNvSpPr txBox="1"/>
          <p:nvPr/>
        </p:nvSpPr>
        <p:spPr>
          <a:xfrm>
            <a:off x="6019469" y="5091394"/>
            <a:ext cx="155150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err="1">
                <a:solidFill>
                  <a:srgbClr val="0B3D91"/>
                </a:solidFill>
                <a:latin typeface="+mj-lt"/>
              </a:rPr>
              <a:t>Refabricator</a:t>
            </a:r>
            <a:endParaRPr lang="en-US" sz="1100" b="1" dirty="0">
              <a:solidFill>
                <a:srgbClr val="0B3D91"/>
              </a:solidFill>
              <a:latin typeface="+mj-lt"/>
            </a:endParaRPr>
          </a:p>
          <a:p>
            <a:pPr algn="ctr"/>
            <a:r>
              <a:rPr lang="en-US" sz="1100" b="1" dirty="0">
                <a:solidFill>
                  <a:srgbClr val="0B3D91"/>
                </a:solidFill>
                <a:latin typeface="+mj-lt"/>
              </a:rPr>
              <a:t>2018 </a:t>
            </a:r>
          </a:p>
        </p:txBody>
      </p:sp>
      <p:pic>
        <p:nvPicPr>
          <p:cNvPr id="152" name="Picture 151">
            <a:extLst>
              <a:ext uri="{FF2B5EF4-FFF2-40B4-BE49-F238E27FC236}">
                <a16:creationId xmlns:a16="http://schemas.microsoft.com/office/drawing/2014/main" id="{65975EB2-707D-4C83-8283-E2758F85F116}"/>
              </a:ext>
            </a:extLst>
          </p:cNvPr>
          <p:cNvPicPr>
            <a:picLocks noChangeAspect="1"/>
          </p:cNvPicPr>
          <p:nvPr/>
        </p:nvPicPr>
        <p:blipFill rotWithShape="1">
          <a:blip r:embed="rId25" cstate="screen">
            <a:extLst>
              <a:ext uri="{BEBA8EAE-BF5A-486C-A8C5-ECC9F3942E4B}">
                <a14:imgProps xmlns:a14="http://schemas.microsoft.com/office/drawing/2010/main">
                  <a14:imgLayer r:embed="rId26">
                    <a14:imgEffect>
                      <a14:sharpenSoften amount="50000"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7629500" y="4460655"/>
            <a:ext cx="615897" cy="616866"/>
          </a:xfrm>
          <a:prstGeom prst="ellipse">
            <a:avLst/>
          </a:prstGeom>
          <a:ln w="19050">
            <a:solidFill>
              <a:srgbClr val="0B3D91"/>
            </a:solidFill>
          </a:ln>
        </p:spPr>
      </p:pic>
      <p:sp>
        <p:nvSpPr>
          <p:cNvPr id="153" name="TextBox 152">
            <a:extLst>
              <a:ext uri="{FF2B5EF4-FFF2-40B4-BE49-F238E27FC236}">
                <a16:creationId xmlns:a16="http://schemas.microsoft.com/office/drawing/2014/main" id="{AD53B37C-F76C-408E-BC4E-6588074BC639}"/>
              </a:ext>
            </a:extLst>
          </p:cNvPr>
          <p:cNvSpPr txBox="1"/>
          <p:nvPr/>
        </p:nvSpPr>
        <p:spPr>
          <a:xfrm>
            <a:off x="7220601" y="5091394"/>
            <a:ext cx="135413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rgbClr val="0B3D91"/>
                </a:solidFill>
                <a:latin typeface="+mj-lt"/>
              </a:rPr>
              <a:t>“</a:t>
            </a:r>
            <a:r>
              <a:rPr lang="en-US" sz="1100" b="1" dirty="0" err="1">
                <a:solidFill>
                  <a:srgbClr val="0B3D91"/>
                </a:solidFill>
                <a:latin typeface="+mj-lt"/>
              </a:rPr>
              <a:t>FabLab</a:t>
            </a:r>
            <a:r>
              <a:rPr lang="en-US" sz="1100" b="1" dirty="0">
                <a:solidFill>
                  <a:srgbClr val="0B3D91"/>
                </a:solidFill>
                <a:latin typeface="+mj-lt"/>
              </a:rPr>
              <a:t>” Facility</a:t>
            </a:r>
          </a:p>
          <a:p>
            <a:pPr algn="ctr"/>
            <a:r>
              <a:rPr lang="en-US" sz="1100" b="1" dirty="0">
                <a:solidFill>
                  <a:srgbClr val="0B3D91"/>
                </a:solidFill>
                <a:latin typeface="+mj-lt"/>
              </a:rPr>
              <a:t>2020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CB218578-EC5D-4A42-85BF-9FD8BDCFD338}"/>
              </a:ext>
            </a:extLst>
          </p:cNvPr>
          <p:cNvSpPr/>
          <p:nvPr/>
        </p:nvSpPr>
        <p:spPr bwMode="auto">
          <a:xfrm>
            <a:off x="1837517" y="762001"/>
            <a:ext cx="8539163" cy="381599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B3D9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2C9EE22-DD9A-433A-8654-1E7F511F8D7C}"/>
              </a:ext>
            </a:extLst>
          </p:cNvPr>
          <p:cNvSpPr/>
          <p:nvPr/>
        </p:nvSpPr>
        <p:spPr bwMode="auto">
          <a:xfrm>
            <a:off x="1620644" y="2798366"/>
            <a:ext cx="8979457" cy="1265697"/>
          </a:xfrm>
          <a:prstGeom prst="rect">
            <a:avLst/>
          </a:prstGeom>
          <a:noFill/>
          <a:ln w="19050" cap="flat" cmpd="sng" algn="ctr">
            <a:solidFill>
              <a:srgbClr val="1E6DE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E3203D-554F-4997-B052-02C09D773205}"/>
              </a:ext>
            </a:extLst>
          </p:cNvPr>
          <p:cNvSpPr/>
          <p:nvPr/>
        </p:nvSpPr>
        <p:spPr bwMode="auto">
          <a:xfrm>
            <a:off x="1578620" y="2763670"/>
            <a:ext cx="320292" cy="1335086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1E6DE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mbly</a:t>
            </a:r>
          </a:p>
        </p:txBody>
      </p:sp>
      <p:pic>
        <p:nvPicPr>
          <p:cNvPr id="115" name="Picture 114">
            <a:extLst>
              <a:ext uri="{FF2B5EF4-FFF2-40B4-BE49-F238E27FC236}">
                <a16:creationId xmlns:a16="http://schemas.microsoft.com/office/drawing/2014/main" id="{0EF07D84-1C56-4D50-8D47-8B3C4367989F}"/>
              </a:ext>
            </a:extLst>
          </p:cNvPr>
          <p:cNvPicPr>
            <a:picLocks/>
          </p:cNvPicPr>
          <p:nvPr/>
        </p:nvPicPr>
        <p:blipFill rotWithShape="1"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88830" y="2978839"/>
            <a:ext cx="609103" cy="594689"/>
          </a:xfrm>
          <a:prstGeom prst="ellipse">
            <a:avLst/>
          </a:prstGeom>
          <a:ln w="19050">
            <a:solidFill>
              <a:srgbClr val="0B3D91"/>
            </a:solidFill>
          </a:ln>
        </p:spPr>
      </p:pic>
      <p:sp>
        <p:nvSpPr>
          <p:cNvPr id="116" name="TextBox 115">
            <a:extLst>
              <a:ext uri="{FF2B5EF4-FFF2-40B4-BE49-F238E27FC236}">
                <a16:creationId xmlns:a16="http://schemas.microsoft.com/office/drawing/2014/main" id="{9307D054-9829-4089-8E82-BA31E7A2DB0C}"/>
              </a:ext>
            </a:extLst>
          </p:cNvPr>
          <p:cNvSpPr txBox="1"/>
          <p:nvPr/>
        </p:nvSpPr>
        <p:spPr>
          <a:xfrm>
            <a:off x="2277908" y="3597624"/>
            <a:ext cx="11492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rgbClr val="0B3D91"/>
                </a:solidFill>
                <a:latin typeface="+mj-lt"/>
              </a:rPr>
              <a:t>Apollo CSM-LM</a:t>
            </a:r>
          </a:p>
          <a:p>
            <a:pPr algn="ctr"/>
            <a:r>
              <a:rPr lang="en-US" sz="1100" b="1" dirty="0">
                <a:solidFill>
                  <a:srgbClr val="0B3D91"/>
                </a:solidFill>
                <a:latin typeface="+mj-lt"/>
              </a:rPr>
              <a:t>1967-72</a:t>
            </a:r>
          </a:p>
        </p:txBody>
      </p:sp>
      <p:pic>
        <p:nvPicPr>
          <p:cNvPr id="117" name="Picture 116">
            <a:extLst>
              <a:ext uri="{FF2B5EF4-FFF2-40B4-BE49-F238E27FC236}">
                <a16:creationId xmlns:a16="http://schemas.microsoft.com/office/drawing/2014/main" id="{D363CBE1-5922-4609-B591-91EBD8E6B8EA}"/>
              </a:ext>
            </a:extLst>
          </p:cNvPr>
          <p:cNvPicPr>
            <a:picLocks/>
          </p:cNvPicPr>
          <p:nvPr/>
        </p:nvPicPr>
        <p:blipFill rotWithShape="1"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37825" y="2975719"/>
            <a:ext cx="609103" cy="594689"/>
          </a:xfrm>
          <a:prstGeom prst="ellipse">
            <a:avLst/>
          </a:prstGeom>
          <a:ln w="19050">
            <a:solidFill>
              <a:srgbClr val="0B3D91"/>
            </a:solidFill>
          </a:ln>
        </p:spPr>
      </p:pic>
      <p:sp>
        <p:nvSpPr>
          <p:cNvPr id="118" name="TextBox 117">
            <a:extLst>
              <a:ext uri="{FF2B5EF4-FFF2-40B4-BE49-F238E27FC236}">
                <a16:creationId xmlns:a16="http://schemas.microsoft.com/office/drawing/2014/main" id="{81B9EBBF-8167-49C3-955B-2A9C69E53EBE}"/>
              </a:ext>
            </a:extLst>
          </p:cNvPr>
          <p:cNvSpPr txBox="1"/>
          <p:nvPr/>
        </p:nvSpPr>
        <p:spPr>
          <a:xfrm>
            <a:off x="3667774" y="3597624"/>
            <a:ext cx="11492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rgbClr val="0B3D91"/>
                </a:solidFill>
                <a:latin typeface="+mj-lt"/>
              </a:rPr>
              <a:t>EASE/ACCESS</a:t>
            </a:r>
          </a:p>
          <a:p>
            <a:pPr algn="ctr"/>
            <a:r>
              <a:rPr lang="en-US" sz="1100" b="1" dirty="0">
                <a:solidFill>
                  <a:srgbClr val="0B3D91"/>
                </a:solidFill>
                <a:latin typeface="+mj-lt"/>
              </a:rPr>
              <a:t>1985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7E86DB22-CB87-412C-B20A-C960A8CB29A1}"/>
              </a:ext>
            </a:extLst>
          </p:cNvPr>
          <p:cNvPicPr>
            <a:picLocks/>
          </p:cNvPicPr>
          <p:nvPr/>
        </p:nvPicPr>
        <p:blipFill rotWithShape="1"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15799" y="2971658"/>
            <a:ext cx="609103" cy="594689"/>
          </a:xfrm>
          <a:prstGeom prst="ellipse">
            <a:avLst/>
          </a:prstGeom>
          <a:ln w="19050">
            <a:solidFill>
              <a:srgbClr val="0B3D91"/>
            </a:solidFill>
          </a:ln>
        </p:spPr>
      </p:pic>
      <p:sp>
        <p:nvSpPr>
          <p:cNvPr id="121" name="TextBox 120">
            <a:extLst>
              <a:ext uri="{FF2B5EF4-FFF2-40B4-BE49-F238E27FC236}">
                <a16:creationId xmlns:a16="http://schemas.microsoft.com/office/drawing/2014/main" id="{A150C79F-FE90-47AB-9118-7F1770624077}"/>
              </a:ext>
            </a:extLst>
          </p:cNvPr>
          <p:cNvSpPr txBox="1"/>
          <p:nvPr/>
        </p:nvSpPr>
        <p:spPr>
          <a:xfrm>
            <a:off x="6691546" y="3597624"/>
            <a:ext cx="177115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rgbClr val="0B3D91"/>
                </a:solidFill>
                <a:latin typeface="+mj-lt"/>
              </a:rPr>
              <a:t>International Space Station</a:t>
            </a:r>
          </a:p>
          <a:p>
            <a:pPr algn="ctr"/>
            <a:r>
              <a:rPr lang="en-US" sz="1100" b="1" dirty="0">
                <a:solidFill>
                  <a:srgbClr val="0B3D91"/>
                </a:solidFill>
                <a:latin typeface="+mj-lt"/>
              </a:rPr>
              <a:t>1998 – present</a:t>
            </a:r>
          </a:p>
        </p:txBody>
      </p:sp>
      <p:pic>
        <p:nvPicPr>
          <p:cNvPr id="89" name="Picture 88"/>
          <p:cNvPicPr>
            <a:picLocks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933" y="2949458"/>
            <a:ext cx="603504" cy="603504"/>
          </a:xfrm>
          <a:prstGeom prst="ellipse">
            <a:avLst/>
          </a:prstGeom>
          <a:ln w="19050">
            <a:solidFill>
              <a:srgbClr val="0B3D91"/>
            </a:solidFill>
          </a:ln>
        </p:spPr>
      </p:pic>
      <p:sp>
        <p:nvSpPr>
          <p:cNvPr id="91" name="TextBox 90">
            <a:extLst>
              <a:ext uri="{FF2B5EF4-FFF2-40B4-BE49-F238E27FC236}">
                <a16:creationId xmlns:a16="http://schemas.microsoft.com/office/drawing/2014/main" id="{81B9EBBF-8167-49C3-955B-2A9C69E53EBE}"/>
              </a:ext>
            </a:extLst>
          </p:cNvPr>
          <p:cNvSpPr txBox="1"/>
          <p:nvPr/>
        </p:nvSpPr>
        <p:spPr>
          <a:xfrm>
            <a:off x="4957102" y="3597624"/>
            <a:ext cx="11492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rgbClr val="0B3D91"/>
                </a:solidFill>
                <a:latin typeface="+mj-lt"/>
              </a:rPr>
              <a:t>ASEM</a:t>
            </a:r>
          </a:p>
          <a:p>
            <a:pPr algn="ctr"/>
            <a:r>
              <a:rPr lang="en-US" sz="1100" b="1" dirty="0">
                <a:solidFill>
                  <a:srgbClr val="0B3D91"/>
                </a:solidFill>
                <a:latin typeface="+mj-lt"/>
              </a:rPr>
              <a:t>1992</a:t>
            </a:r>
          </a:p>
        </p:txBody>
      </p:sp>
      <p:pic>
        <p:nvPicPr>
          <p:cNvPr id="109" name="Picture 108">
            <a:extLst>
              <a:ext uri="{FF2B5EF4-FFF2-40B4-BE49-F238E27FC236}">
                <a16:creationId xmlns:a16="http://schemas.microsoft.com/office/drawing/2014/main" id="{498348D7-2BCC-5444-97CA-DBC6D10A1DF9}"/>
              </a:ext>
            </a:extLst>
          </p:cNvPr>
          <p:cNvPicPr>
            <a:picLocks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8677" y="2949458"/>
            <a:ext cx="603504" cy="603504"/>
          </a:xfrm>
          <a:prstGeom prst="ellipse">
            <a:avLst/>
          </a:prstGeom>
          <a:ln w="19050">
            <a:solidFill>
              <a:srgbClr val="0B3D91"/>
            </a:solidFill>
          </a:ln>
        </p:spPr>
      </p:pic>
      <p:pic>
        <p:nvPicPr>
          <p:cNvPr id="112" name="Picture 111">
            <a:extLst>
              <a:ext uri="{FF2B5EF4-FFF2-40B4-BE49-F238E27FC236}">
                <a16:creationId xmlns:a16="http://schemas.microsoft.com/office/drawing/2014/main" id="{C71D18A3-DE53-234C-BE81-B43A490814BC}"/>
              </a:ext>
            </a:extLst>
          </p:cNvPr>
          <p:cNvPicPr>
            <a:picLocks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1421" y="2949458"/>
            <a:ext cx="603504" cy="603504"/>
          </a:xfrm>
          <a:prstGeom prst="ellipse">
            <a:avLst/>
          </a:prstGeom>
          <a:ln w="19050">
            <a:solidFill>
              <a:srgbClr val="0B3D91"/>
            </a:solidFill>
          </a:ln>
        </p:spPr>
      </p:pic>
      <p:pic>
        <p:nvPicPr>
          <p:cNvPr id="114" name="Picture 113">
            <a:extLst>
              <a:ext uri="{FF2B5EF4-FFF2-40B4-BE49-F238E27FC236}">
                <a16:creationId xmlns:a16="http://schemas.microsoft.com/office/drawing/2014/main" id="{14F17226-2470-824D-AFBA-D747C6C58B43}"/>
              </a:ext>
            </a:extLst>
          </p:cNvPr>
          <p:cNvPicPr>
            <a:picLocks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4165" y="2949458"/>
            <a:ext cx="603504" cy="603504"/>
          </a:xfrm>
          <a:prstGeom prst="ellipse">
            <a:avLst/>
          </a:prstGeom>
          <a:ln w="19050">
            <a:solidFill>
              <a:srgbClr val="0B3D91"/>
            </a:solidFill>
          </a:ln>
        </p:spPr>
      </p:pic>
      <p:pic>
        <p:nvPicPr>
          <p:cNvPr id="119" name="Picture 118">
            <a:extLst>
              <a:ext uri="{FF2B5EF4-FFF2-40B4-BE49-F238E27FC236}">
                <a16:creationId xmlns:a16="http://schemas.microsoft.com/office/drawing/2014/main" id="{30703F33-9283-9F40-93B2-82A5041CAD3C}"/>
              </a:ext>
            </a:extLst>
          </p:cNvPr>
          <p:cNvPicPr>
            <a:picLocks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6909" y="2949458"/>
            <a:ext cx="603504" cy="603504"/>
          </a:xfrm>
          <a:prstGeom prst="ellipse">
            <a:avLst/>
          </a:prstGeom>
          <a:ln w="19050">
            <a:solidFill>
              <a:srgbClr val="0B3D91"/>
            </a:solidFill>
          </a:ln>
        </p:spPr>
      </p:pic>
      <p:pic>
        <p:nvPicPr>
          <p:cNvPr id="125" name="Picture 124">
            <a:extLst>
              <a:ext uri="{FF2B5EF4-FFF2-40B4-BE49-F238E27FC236}">
                <a16:creationId xmlns:a16="http://schemas.microsoft.com/office/drawing/2014/main" id="{DC819356-0CA9-8148-9912-5ABA5E4F141E}"/>
              </a:ext>
            </a:extLst>
          </p:cNvPr>
          <p:cNvPicPr>
            <a:picLocks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79653" y="2949458"/>
            <a:ext cx="603504" cy="603504"/>
          </a:xfrm>
          <a:prstGeom prst="ellipse">
            <a:avLst/>
          </a:prstGeom>
          <a:ln w="19050">
            <a:solidFill>
              <a:srgbClr val="0B3D91"/>
            </a:solidFill>
          </a:ln>
        </p:spPr>
      </p:pic>
      <p:sp>
        <p:nvSpPr>
          <p:cNvPr id="85" name="TextBox 84">
            <a:extLst>
              <a:ext uri="{FF2B5EF4-FFF2-40B4-BE49-F238E27FC236}">
                <a16:creationId xmlns:a16="http://schemas.microsoft.com/office/drawing/2014/main" id="{0AD9E5CF-56DA-8845-A24A-1BC416B52A2E}"/>
              </a:ext>
            </a:extLst>
          </p:cNvPr>
          <p:cNvSpPr txBox="1"/>
          <p:nvPr/>
        </p:nvSpPr>
        <p:spPr>
          <a:xfrm>
            <a:off x="9431530" y="3616369"/>
            <a:ext cx="124468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chemeClr val="accent1"/>
                </a:solidFill>
                <a:latin typeface="+mj-lt"/>
              </a:rPr>
              <a:t>OSAM-1 SPIDER</a:t>
            </a:r>
          </a:p>
          <a:p>
            <a:pPr algn="ctr"/>
            <a:r>
              <a:rPr lang="en-US" sz="1100" b="1" dirty="0">
                <a:solidFill>
                  <a:schemeClr val="accent1"/>
                </a:solidFill>
                <a:latin typeface="+mj-lt"/>
              </a:rPr>
              <a:t>LRD 2025</a:t>
            </a:r>
          </a:p>
        </p:txBody>
      </p:sp>
      <p:pic>
        <p:nvPicPr>
          <p:cNvPr id="86" name="Picture 85">
            <a:extLst>
              <a:ext uri="{FF2B5EF4-FFF2-40B4-BE49-F238E27FC236}">
                <a16:creationId xmlns:a16="http://schemas.microsoft.com/office/drawing/2014/main" id="{87B226DE-D0C3-9B49-AB36-629ED2EAA517}"/>
              </a:ext>
            </a:extLst>
          </p:cNvPr>
          <p:cNvPicPr>
            <a:picLocks/>
          </p:cNvPicPr>
          <p:nvPr/>
        </p:nvPicPr>
        <p:blipFill rotWithShape="1">
          <a:blip r:embed="rId19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78338" y="2972019"/>
            <a:ext cx="635855" cy="603504"/>
          </a:xfrm>
          <a:prstGeom prst="rect">
            <a:avLst/>
          </a:prstGeom>
        </p:spPr>
      </p:pic>
      <p:sp>
        <p:nvSpPr>
          <p:cNvPr id="88" name="TextBox 87">
            <a:extLst>
              <a:ext uri="{FF2B5EF4-FFF2-40B4-BE49-F238E27FC236}">
                <a16:creationId xmlns:a16="http://schemas.microsoft.com/office/drawing/2014/main" id="{BAB3F775-192D-A74A-8D84-ED377B5C4AA3}"/>
              </a:ext>
            </a:extLst>
          </p:cNvPr>
          <p:cNvSpPr txBox="1"/>
          <p:nvPr/>
        </p:nvSpPr>
        <p:spPr>
          <a:xfrm>
            <a:off x="8364151" y="5090236"/>
            <a:ext cx="135413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chemeClr val="accent1"/>
                </a:solidFill>
                <a:latin typeface="+mj-lt"/>
              </a:rPr>
              <a:t>OSAM-1 </a:t>
            </a:r>
            <a:r>
              <a:rPr lang="en-US" sz="1100" b="1" dirty="0" err="1">
                <a:solidFill>
                  <a:schemeClr val="accent1"/>
                </a:solidFill>
                <a:latin typeface="+mj-lt"/>
              </a:rPr>
              <a:t>MakerSat</a:t>
            </a:r>
            <a:endParaRPr lang="en-US" sz="1100" b="1" dirty="0">
              <a:solidFill>
                <a:schemeClr val="accent1"/>
              </a:solidFill>
              <a:latin typeface="+mj-lt"/>
            </a:endParaRPr>
          </a:p>
          <a:p>
            <a:pPr algn="ctr"/>
            <a:r>
              <a:rPr lang="en-US" sz="1100" b="1" dirty="0">
                <a:solidFill>
                  <a:schemeClr val="accent1"/>
                </a:solidFill>
                <a:latin typeface="+mj-lt"/>
              </a:rPr>
              <a:t>LRD 2025</a:t>
            </a:r>
          </a:p>
        </p:txBody>
      </p:sp>
      <p:pic>
        <p:nvPicPr>
          <p:cNvPr id="94" name="Picture 93">
            <a:extLst>
              <a:ext uri="{FF2B5EF4-FFF2-40B4-BE49-F238E27FC236}">
                <a16:creationId xmlns:a16="http://schemas.microsoft.com/office/drawing/2014/main" id="{99DE1452-17F9-1140-ADE2-4F5826EAD10A}"/>
              </a:ext>
            </a:extLst>
          </p:cNvPr>
          <p:cNvPicPr>
            <a:picLocks/>
          </p:cNvPicPr>
          <p:nvPr/>
        </p:nvPicPr>
        <p:blipFill rotWithShape="1">
          <a:blip r:embed="rId19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50129" y="4460655"/>
            <a:ext cx="683035" cy="603504"/>
          </a:xfrm>
          <a:prstGeom prst="rect">
            <a:avLst/>
          </a:prstGeom>
        </p:spPr>
      </p:pic>
      <p:pic>
        <p:nvPicPr>
          <p:cNvPr id="80" name="Picture 79">
            <a:extLst>
              <a:ext uri="{FF2B5EF4-FFF2-40B4-BE49-F238E27FC236}">
                <a16:creationId xmlns:a16="http://schemas.microsoft.com/office/drawing/2014/main" id="{EEA587F7-2B0C-F14C-A0BF-D71A6AB14517}"/>
              </a:ext>
            </a:extLst>
          </p:cNvPr>
          <p:cNvPicPr>
            <a:picLocks/>
          </p:cNvPicPr>
          <p:nvPr/>
        </p:nvPicPr>
        <p:blipFill rotWithShape="1">
          <a:blip r:embed="rId19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02443" y="4467336"/>
            <a:ext cx="683034" cy="603504"/>
          </a:xfrm>
          <a:prstGeom prst="rect">
            <a:avLst/>
          </a:prstGeom>
        </p:spPr>
      </p:pic>
      <p:sp>
        <p:nvSpPr>
          <p:cNvPr id="82" name="TextBox 81">
            <a:extLst>
              <a:ext uri="{FF2B5EF4-FFF2-40B4-BE49-F238E27FC236}">
                <a16:creationId xmlns:a16="http://schemas.microsoft.com/office/drawing/2014/main" id="{5678327D-0676-3546-A99F-380254F7E528}"/>
              </a:ext>
            </a:extLst>
          </p:cNvPr>
          <p:cNvSpPr txBox="1"/>
          <p:nvPr/>
        </p:nvSpPr>
        <p:spPr>
          <a:xfrm>
            <a:off x="9758607" y="5096917"/>
            <a:ext cx="75105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chemeClr val="accent1"/>
                </a:solidFill>
                <a:latin typeface="+mj-lt"/>
              </a:rPr>
              <a:t>OSAM-2</a:t>
            </a:r>
          </a:p>
          <a:p>
            <a:pPr algn="ctr"/>
            <a:r>
              <a:rPr lang="en-US" sz="1100" b="1" dirty="0">
                <a:solidFill>
                  <a:schemeClr val="accent1"/>
                </a:solidFill>
                <a:latin typeface="+mj-lt"/>
              </a:rPr>
              <a:t>LRD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60A32D-DBEC-4779-B9BE-9E5053054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A45933-0F97-4B24-BC4B-C5BF835C6785}" type="slidenum">
              <a:rPr lang="en-US" smtClean="0"/>
              <a:t>3</a:t>
            </a:fld>
            <a:endParaRPr lang="en-US"/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BEED8EBF-BD80-4E42-9672-BBC8B8E693EA}"/>
              </a:ext>
            </a:extLst>
          </p:cNvPr>
          <p:cNvSpPr txBox="1"/>
          <p:nvPr/>
        </p:nvSpPr>
        <p:spPr>
          <a:xfrm>
            <a:off x="9004901" y="6437523"/>
            <a:ext cx="18886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mage Credits: NASA</a:t>
            </a:r>
          </a:p>
        </p:txBody>
      </p:sp>
    </p:spTree>
    <p:extLst>
      <p:ext uri="{BB962C8B-B14F-4D97-AF65-F5344CB8AC3E}">
        <p14:creationId xmlns:p14="http://schemas.microsoft.com/office/powerpoint/2010/main" val="17758962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OSAM Stakeholders</a:t>
            </a:r>
          </a:p>
        </p:txBody>
      </p:sp>
      <p:sp>
        <p:nvSpPr>
          <p:cNvPr id="6" name="Oval 5"/>
          <p:cNvSpPr/>
          <p:nvPr/>
        </p:nvSpPr>
        <p:spPr>
          <a:xfrm>
            <a:off x="2429164" y="1215039"/>
            <a:ext cx="5367950" cy="4075238"/>
          </a:xfrm>
          <a:prstGeom prst="ellipse">
            <a:avLst/>
          </a:prstGeom>
          <a:solidFill>
            <a:schemeClr val="accent1">
              <a:alpha val="28000"/>
            </a:scheme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Oval 6"/>
          <p:cNvSpPr/>
          <p:nvPr/>
        </p:nvSpPr>
        <p:spPr>
          <a:xfrm>
            <a:off x="4915589" y="1227719"/>
            <a:ext cx="5059739" cy="4124640"/>
          </a:xfrm>
          <a:prstGeom prst="ellipse">
            <a:avLst/>
          </a:prstGeom>
          <a:solidFill>
            <a:srgbClr val="FF0000">
              <a:alpha val="28000"/>
            </a:srgb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Oval 7"/>
          <p:cNvSpPr/>
          <p:nvPr/>
        </p:nvSpPr>
        <p:spPr>
          <a:xfrm>
            <a:off x="3816901" y="2385588"/>
            <a:ext cx="5059739" cy="4416025"/>
          </a:xfrm>
          <a:prstGeom prst="ellipse">
            <a:avLst/>
          </a:prstGeom>
          <a:solidFill>
            <a:schemeClr val="accent6">
              <a:alpha val="28000"/>
            </a:scheme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207680" y="2452088"/>
            <a:ext cx="2181230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Repair</a:t>
            </a:r>
          </a:p>
          <a:p>
            <a:pPr algn="ctr"/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Upgrade</a:t>
            </a:r>
          </a:p>
          <a:p>
            <a:pPr algn="ctr"/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Refuel</a:t>
            </a:r>
          </a:p>
          <a:p>
            <a:pPr algn="ctr"/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Relocate</a:t>
            </a:r>
          </a:p>
          <a:p>
            <a:pPr algn="ctr"/>
            <a:endParaRPr 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Assemble</a:t>
            </a:r>
          </a:p>
          <a:p>
            <a:pPr algn="ctr"/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Construct</a:t>
            </a:r>
          </a:p>
          <a:p>
            <a:pPr algn="ctr"/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Reconfigure</a:t>
            </a:r>
          </a:p>
          <a:p>
            <a:pPr algn="ctr"/>
            <a:endParaRPr 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Manufacture</a:t>
            </a:r>
          </a:p>
          <a:p>
            <a:pPr algn="ctr"/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Coat</a:t>
            </a:r>
          </a:p>
          <a:p>
            <a:pPr algn="ctr"/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Polish</a:t>
            </a:r>
          </a:p>
          <a:p>
            <a:pPr algn="ctr"/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Recycl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843408" y="1469613"/>
            <a:ext cx="13576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CIVIL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567649" y="5300886"/>
            <a:ext cx="34409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COMMERCIA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436138" y="1512097"/>
            <a:ext cx="34409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SECURITY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88958" y="1438835"/>
            <a:ext cx="2321322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n-US" sz="1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SA Science</a:t>
            </a:r>
          </a:p>
          <a:p>
            <a:pPr algn="ctr"/>
            <a:endParaRPr lang="en-US" sz="3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SA Exploration</a:t>
            </a:r>
          </a:p>
          <a:p>
            <a:pPr algn="ctr"/>
            <a:endParaRPr lang="en-US" sz="3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artment of Commerce</a:t>
            </a:r>
          </a:p>
          <a:p>
            <a:pPr algn="ctr"/>
            <a:endParaRPr lang="en-US" sz="3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artment of Interior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364119" y="1402131"/>
            <a:ext cx="168339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200" dirty="0">
              <a:solidFill>
                <a:srgbClr val="EF48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200" b="1" dirty="0">
                <a:solidFill>
                  <a:srgbClr val="EF48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artment of </a:t>
            </a:r>
          </a:p>
          <a:p>
            <a:pPr algn="ctr"/>
            <a:r>
              <a:rPr lang="en-US" sz="1200" b="1" dirty="0">
                <a:solidFill>
                  <a:srgbClr val="EF48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nse</a:t>
            </a:r>
          </a:p>
          <a:p>
            <a:pPr algn="ctr"/>
            <a:endParaRPr lang="en-US" sz="400" b="1" dirty="0">
              <a:solidFill>
                <a:srgbClr val="EF48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200" b="1" dirty="0">
                <a:solidFill>
                  <a:srgbClr val="EF48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lligence </a:t>
            </a:r>
          </a:p>
          <a:p>
            <a:pPr algn="ctr"/>
            <a:r>
              <a:rPr lang="en-US" sz="1200" b="1" dirty="0">
                <a:solidFill>
                  <a:srgbClr val="EF48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ty</a:t>
            </a:r>
            <a:endParaRPr lang="en-US" sz="1200" dirty="0">
              <a:solidFill>
                <a:srgbClr val="EF48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200" dirty="0">
              <a:solidFill>
                <a:srgbClr val="EF48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749619" y="5447872"/>
            <a:ext cx="2423877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200" b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eet Owners and Operators</a:t>
            </a:r>
          </a:p>
          <a:p>
            <a:pPr algn="ctr"/>
            <a:endParaRPr lang="en-US" sz="200" b="1" dirty="0">
              <a:solidFill>
                <a:schemeClr val="accent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200" b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 Providers</a:t>
            </a:r>
          </a:p>
          <a:p>
            <a:pPr algn="ctr"/>
            <a:endParaRPr lang="en-US" sz="200" b="1" dirty="0">
              <a:solidFill>
                <a:schemeClr val="accent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200" b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tellite Manufacturers</a:t>
            </a:r>
          </a:p>
          <a:p>
            <a:pPr algn="ctr"/>
            <a:endParaRPr lang="en-US" sz="200" b="1" dirty="0">
              <a:solidFill>
                <a:schemeClr val="accent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200" b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urance Companies</a:t>
            </a:r>
          </a:p>
          <a:p>
            <a:pPr algn="ctr"/>
            <a:endParaRPr lang="en-US" sz="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9FC519-7947-4F21-BC86-1F1EE0CE6A10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34370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SAM across the Governmen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FA14362-4A2A-4798-8AA7-2C72733A8F8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96218" y="1786163"/>
            <a:ext cx="4087368" cy="1608830"/>
          </a:xfrm>
          <a:prstGeom prst="rect">
            <a:avLst/>
          </a:prstGeom>
          <a:ln>
            <a:solidFill>
              <a:srgbClr val="0B3D9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12" name="Group 11"/>
          <p:cNvGrpSpPr/>
          <p:nvPr/>
        </p:nvGrpSpPr>
        <p:grpSpPr>
          <a:xfrm>
            <a:off x="712316" y="1931953"/>
            <a:ext cx="4862629" cy="1463040"/>
            <a:chOff x="361949" y="1676573"/>
            <a:chExt cx="4862629" cy="1463040"/>
          </a:xfrm>
        </p:grpSpPr>
        <p:pic>
          <p:nvPicPr>
            <p:cNvPr id="2050" name="Picture 2" descr="Image result for department of the air force logo 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1949" y="1676573"/>
              <a:ext cx="1463040" cy="14630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2" name="Picture 4" descr="Image result for nasa logo png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859" b="7250"/>
            <a:stretch/>
          </p:blipFill>
          <p:spPr bwMode="auto">
            <a:xfrm>
              <a:off x="1798399" y="1676573"/>
              <a:ext cx="1989728" cy="14630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0" name="Picture 12" descr="File:NRO.sv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61538" y="1676573"/>
              <a:ext cx="1463040" cy="14630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" name="Rectangle 7"/>
          <p:cNvSpPr/>
          <p:nvPr/>
        </p:nvSpPr>
        <p:spPr>
          <a:xfrm>
            <a:off x="489965" y="3811294"/>
            <a:ext cx="530733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/>
              <a:t>2017-2019 Space Science and Technology (S&amp;T) Partnership Forum</a:t>
            </a:r>
            <a:r>
              <a:rPr lang="en-US" sz="2400" dirty="0"/>
              <a:t> on In-Space Assembly examined the cross-cutting value, potential for collaboration, and technology advancement for multiple government partners.</a:t>
            </a:r>
          </a:p>
        </p:txBody>
      </p:sp>
      <p:sp>
        <p:nvSpPr>
          <p:cNvPr id="11" name="Rectangle 10"/>
          <p:cNvSpPr/>
          <p:nvPr/>
        </p:nvSpPr>
        <p:spPr>
          <a:xfrm>
            <a:off x="6502334" y="3811294"/>
            <a:ext cx="527513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/>
              <a:t>2018 National Space Strategy </a:t>
            </a:r>
            <a:r>
              <a:rPr lang="en-US" sz="2400" dirty="0"/>
              <a:t>identifies NASA and DOD to lead OSAM technology development and demonstration, explore new OSAM capabilities, and enable OSAM activities in U.S. industry.</a:t>
            </a:r>
          </a:p>
        </p:txBody>
      </p:sp>
    </p:spTree>
    <p:extLst>
      <p:ext uri="{BB962C8B-B14F-4D97-AF65-F5344CB8AC3E}">
        <p14:creationId xmlns:p14="http://schemas.microsoft.com/office/powerpoint/2010/main" val="21589863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SAM National Initiativ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890E017-F617-4F47-A63A-27C6E24BA5AB}"/>
              </a:ext>
            </a:extLst>
          </p:cNvPr>
          <p:cNvSpPr/>
          <p:nvPr/>
        </p:nvSpPr>
        <p:spPr bwMode="auto">
          <a:xfrm>
            <a:off x="4755910" y="2208594"/>
            <a:ext cx="2680181" cy="372168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cs typeface="Calibri Light" panose="020F0302020204030204" pitchFamily="34" charset="0"/>
              </a:rPr>
              <a:t>OBJECTIVES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303030"/>
              </a:solidFill>
              <a:effectLst/>
              <a:uLnTx/>
              <a:uFillTx/>
              <a:cs typeface="Calibri Light" panose="020F03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DEAA5D1-F6E1-4FD1-B156-FED005891FCA}"/>
              </a:ext>
            </a:extLst>
          </p:cNvPr>
          <p:cNvSpPr/>
          <p:nvPr/>
        </p:nvSpPr>
        <p:spPr>
          <a:xfrm>
            <a:off x="1414380" y="1341123"/>
            <a:ext cx="10519645" cy="688398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1" u="none" strike="noStrike" kern="0" cap="none" spc="0" normalizeH="0" baseline="0" noProof="0" dirty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rve as the nation’s steward for OSAM capability development and as a central hub for engaging the broader OSAM stakeholder communit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345E369-B6E0-4E22-B083-831EB17D0793}"/>
              </a:ext>
            </a:extLst>
          </p:cNvPr>
          <p:cNvSpPr/>
          <p:nvPr/>
        </p:nvSpPr>
        <p:spPr bwMode="auto">
          <a:xfrm>
            <a:off x="257976" y="1341122"/>
            <a:ext cx="1156404" cy="688398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MISSION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1414380" y="1341123"/>
            <a:ext cx="0" cy="688398"/>
          </a:xfrm>
          <a:prstGeom prst="line">
            <a:avLst/>
          </a:prstGeom>
          <a:ln w="19050">
            <a:solidFill>
              <a:srgbClr val="0B3D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309963" y="2631320"/>
            <a:ext cx="11572075" cy="16724"/>
          </a:xfrm>
          <a:prstGeom prst="line">
            <a:avLst/>
          </a:prstGeom>
          <a:ln w="19050">
            <a:solidFill>
              <a:srgbClr val="0B3D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/>
          <p:nvPr/>
        </p:nvGrpSpPr>
        <p:grpSpPr>
          <a:xfrm>
            <a:off x="3225654" y="2702862"/>
            <a:ext cx="2743201" cy="3923960"/>
            <a:chOff x="3230880" y="2702862"/>
            <a:chExt cx="2743201" cy="392396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CD161F3-93C7-452F-8920-8634B88E7B60}"/>
                </a:ext>
              </a:extLst>
            </p:cNvPr>
            <p:cNvSpPr/>
            <p:nvPr/>
          </p:nvSpPr>
          <p:spPr bwMode="auto">
            <a:xfrm>
              <a:off x="3230880" y="2702862"/>
              <a:ext cx="2743200" cy="3923960"/>
            </a:xfrm>
            <a:prstGeom prst="rect">
              <a:avLst/>
            </a:prstGeom>
            <a:noFill/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1" u="none" strike="noStrike" kern="0" cap="none" spc="0" normalizeH="0" baseline="0" noProof="0" dirty="0">
                  <a:ln>
                    <a:noFill/>
                  </a:ln>
                  <a:solidFill>
                    <a:srgbClr val="303030"/>
                  </a:solidFill>
                  <a:effectLst/>
                  <a:uLnTx/>
                  <a:uFillTx/>
                </a:rPr>
                <a:t>Develop and Share Technology</a:t>
              </a:r>
            </a:p>
          </p:txBody>
        </p:sp>
        <p:pic>
          <p:nvPicPr>
            <p:cNvPr id="22" name="Picture 21"/>
            <p:cNvPicPr>
              <a:picLocks noChangeAspect="1"/>
            </p:cNvPicPr>
            <p:nvPr/>
          </p:nvPicPr>
          <p:blipFill rotWithShape="1">
            <a:blip r:embed="rId3"/>
            <a:srcRect l="18483" r="17936"/>
            <a:stretch/>
          </p:blipFill>
          <p:spPr>
            <a:xfrm>
              <a:off x="3230881" y="3548786"/>
              <a:ext cx="2743200" cy="2870443"/>
            </a:xfrm>
            <a:prstGeom prst="rect">
              <a:avLst/>
            </a:prstGeom>
          </p:spPr>
        </p:pic>
      </p:grpSp>
      <p:grpSp>
        <p:nvGrpSpPr>
          <p:cNvPr id="13" name="Group 12"/>
          <p:cNvGrpSpPr/>
          <p:nvPr/>
        </p:nvGrpSpPr>
        <p:grpSpPr>
          <a:xfrm>
            <a:off x="6210082" y="2702862"/>
            <a:ext cx="2756264" cy="3923960"/>
            <a:chOff x="6204856" y="2702862"/>
            <a:chExt cx="2756264" cy="392396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FCA0AF5-74B0-4527-9D44-6A5AA25C7A34}"/>
                </a:ext>
              </a:extLst>
            </p:cNvPr>
            <p:cNvSpPr/>
            <p:nvPr/>
          </p:nvSpPr>
          <p:spPr bwMode="auto">
            <a:xfrm>
              <a:off x="6217920" y="2702862"/>
              <a:ext cx="2743200" cy="3923960"/>
            </a:xfrm>
            <a:prstGeom prst="rect">
              <a:avLst/>
            </a:prstGeom>
            <a:noFill/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1" u="none" strike="noStrike" kern="0" cap="none" spc="0" normalizeH="0" baseline="0" noProof="0" dirty="0">
                  <a:ln>
                    <a:noFill/>
                  </a:ln>
                  <a:solidFill>
                    <a:srgbClr val="303030"/>
                  </a:solidFill>
                  <a:effectLst/>
                  <a:uLnTx/>
                  <a:uFillTx/>
                </a:rPr>
                <a:t>Advance New Concepts and Capabilities</a:t>
              </a:r>
            </a:p>
          </p:txBody>
        </p:sp>
        <p:pic>
          <p:nvPicPr>
            <p:cNvPr id="23" name="Picture 22"/>
            <p:cNvPicPr>
              <a:picLocks noChangeAspect="1"/>
            </p:cNvPicPr>
            <p:nvPr/>
          </p:nvPicPr>
          <p:blipFill rotWithShape="1">
            <a:blip r:embed="rId4"/>
            <a:srcRect l="14705" r="13714"/>
            <a:stretch/>
          </p:blipFill>
          <p:spPr>
            <a:xfrm>
              <a:off x="6204856" y="3548786"/>
              <a:ext cx="2752531" cy="2870443"/>
            </a:xfrm>
            <a:prstGeom prst="rect">
              <a:avLst/>
            </a:prstGeom>
          </p:spPr>
        </p:pic>
      </p:grpSp>
      <p:grpSp>
        <p:nvGrpSpPr>
          <p:cNvPr id="4" name="Group 3"/>
          <p:cNvGrpSpPr/>
          <p:nvPr/>
        </p:nvGrpSpPr>
        <p:grpSpPr>
          <a:xfrm>
            <a:off x="241227" y="2702862"/>
            <a:ext cx="2743200" cy="3907045"/>
            <a:chOff x="243840" y="2719777"/>
            <a:chExt cx="2743200" cy="390704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2429DAC-DE39-40FA-A659-3737C45E40F9}"/>
                </a:ext>
              </a:extLst>
            </p:cNvPr>
            <p:cNvSpPr/>
            <p:nvPr/>
          </p:nvSpPr>
          <p:spPr bwMode="auto">
            <a:xfrm>
              <a:off x="243840" y="2719777"/>
              <a:ext cx="2743200" cy="3907045"/>
            </a:xfrm>
            <a:prstGeom prst="rect">
              <a:avLst/>
            </a:prstGeom>
            <a:noFill/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1" u="none" strike="noStrike" kern="0" cap="none" spc="0" normalizeH="0" baseline="0" noProof="0" dirty="0">
                  <a:ln>
                    <a:noFill/>
                  </a:ln>
                  <a:solidFill>
                    <a:srgbClr val="303030"/>
                  </a:solidFill>
                  <a:effectLst/>
                  <a:uLnTx/>
                  <a:uFillTx/>
                </a:rPr>
                <a:t>Facilitate</a:t>
              </a:r>
              <a:br>
                <a:rPr kumimoji="0" lang="en-US" b="1" i="1" u="none" strike="noStrike" kern="0" cap="none" spc="0" normalizeH="0" baseline="0" noProof="0" dirty="0">
                  <a:ln>
                    <a:noFill/>
                  </a:ln>
                  <a:solidFill>
                    <a:srgbClr val="303030"/>
                  </a:solidFill>
                  <a:effectLst/>
                  <a:uLnTx/>
                  <a:uFillTx/>
                </a:rPr>
              </a:br>
              <a:r>
                <a:rPr kumimoji="0" lang="en-US" b="1" i="1" u="none" strike="noStrike" kern="0" cap="none" spc="0" normalizeH="0" baseline="0" noProof="0" dirty="0">
                  <a:ln>
                    <a:noFill/>
                  </a:ln>
                  <a:solidFill>
                    <a:srgbClr val="303030"/>
                  </a:solidFill>
                  <a:effectLst/>
                  <a:uLnTx/>
                  <a:uFillTx/>
                </a:rPr>
                <a:t>Relationships</a:t>
              </a:r>
            </a:p>
          </p:txBody>
        </p:sp>
        <p:pic>
          <p:nvPicPr>
            <p:cNvPr id="24" name="Picture 2" descr="Image result for department of the air force logo 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8814" y="3551308"/>
              <a:ext cx="579843" cy="5798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4" descr="Image result for nasa logo png"/>
            <p:cNvPicPr>
              <a:picLocks noChangeAspect="1" noChangeArrowheads="1"/>
            </p:cNvPicPr>
            <p:nvPr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269974" y="3551308"/>
              <a:ext cx="788584" cy="5798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12" descr="File:NRO.svg"/>
            <p:cNvPicPr>
              <a:picLocks noChangeAspect="1" noChangeArrowheads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9874" y="3551308"/>
              <a:ext cx="579843" cy="5798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2" descr="Image result for air force space command"/>
            <p:cNvPicPr>
              <a:picLocks noChangeAspect="1" noChangeArrowheads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15779" y="4197229"/>
              <a:ext cx="600874" cy="5798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4" descr="Image result for air force space and missile systems center"/>
            <p:cNvPicPr>
              <a:picLocks noChangeAspect="1" noChangeArrowheads="1"/>
            </p:cNvPicPr>
            <p:nvPr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64655" y="4197229"/>
              <a:ext cx="570179" cy="5798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6" descr="Image result for space force logo"/>
            <p:cNvPicPr>
              <a:picLocks noChangeAspect="1" noChangeArrowheads="1"/>
            </p:cNvPicPr>
            <p:nvPr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9314" y="4197229"/>
              <a:ext cx="604396" cy="5798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8" descr="Image result for afrl logo"/>
            <p:cNvPicPr>
              <a:picLocks noChangeAspect="1" noChangeArrowheads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25549" y="4830329"/>
              <a:ext cx="581333" cy="5798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10" descr="Image result for darpa logo"/>
            <p:cNvPicPr>
              <a:picLocks noChangeAspect="1" noChangeArrowheads="1"/>
            </p:cNvPicPr>
            <p:nvPr/>
          </p:nvPicPr>
          <p:blipFill>
            <a:blip r:embed="rId1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3639" y="4830329"/>
              <a:ext cx="1131400" cy="5798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12" descr="Image result for navy research lab logo png"/>
            <p:cNvPicPr>
              <a:picLocks noChangeAspect="1" noChangeArrowheads="1"/>
            </p:cNvPicPr>
            <p:nvPr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39286" y="5499065"/>
              <a:ext cx="867596" cy="5798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14" descr="Image result for defense innovation unit logo png"/>
            <p:cNvPicPr>
              <a:picLocks noChangeAspect="1" noChangeArrowheads="1"/>
            </p:cNvPicPr>
            <p:nvPr/>
          </p:nvPicPr>
          <p:blipFill rotWithShape="1">
            <a:blip r:embed="rId1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80500"/>
            <a:stretch/>
          </p:blipFill>
          <p:spPr bwMode="auto">
            <a:xfrm>
              <a:off x="688814" y="5499065"/>
              <a:ext cx="605729" cy="5798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" name="TextBox 33"/>
            <p:cNvSpPr txBox="1"/>
            <p:nvPr/>
          </p:nvSpPr>
          <p:spPr>
            <a:xfrm>
              <a:off x="1364655" y="6109350"/>
              <a:ext cx="130215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kern="0" dirty="0">
                  <a:solidFill>
                    <a:srgbClr val="303030"/>
                  </a:solidFill>
                  <a:latin typeface="Calibri"/>
                </a:rPr>
                <a:t>… and more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9207573" y="2702862"/>
            <a:ext cx="2743200" cy="3923960"/>
            <a:chOff x="9204960" y="2702862"/>
            <a:chExt cx="2743200" cy="392396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8EF9114-DE3A-4B0A-8AEF-E58E8B29F498}"/>
                </a:ext>
              </a:extLst>
            </p:cNvPr>
            <p:cNvSpPr/>
            <p:nvPr/>
          </p:nvSpPr>
          <p:spPr bwMode="auto">
            <a:xfrm>
              <a:off x="9204960" y="2702862"/>
              <a:ext cx="2743200" cy="3923960"/>
            </a:xfrm>
            <a:prstGeom prst="rect">
              <a:avLst/>
            </a:prstGeom>
            <a:noFill/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1" u="none" strike="noStrike" kern="0" cap="none" spc="0" normalizeH="0" baseline="0" noProof="0" dirty="0">
                  <a:ln>
                    <a:noFill/>
                  </a:ln>
                  <a:solidFill>
                    <a:srgbClr val="303030"/>
                  </a:solidFill>
                  <a:effectLst/>
                  <a:uLnTx/>
                  <a:uFillTx/>
                </a:rPr>
                <a:t>Serve as a </a:t>
              </a:r>
              <a:br>
                <a:rPr kumimoji="0" lang="en-US" b="1" i="1" u="none" strike="noStrike" kern="0" cap="none" spc="0" normalizeH="0" baseline="0" noProof="0" dirty="0">
                  <a:ln>
                    <a:noFill/>
                  </a:ln>
                  <a:solidFill>
                    <a:srgbClr val="303030"/>
                  </a:solidFill>
                  <a:effectLst/>
                  <a:uLnTx/>
                  <a:uFillTx/>
                </a:rPr>
              </a:br>
              <a:r>
                <a:rPr kumimoji="0" lang="en-US" b="1" i="1" u="none" strike="noStrike" kern="0" cap="none" spc="0" normalizeH="0" baseline="0" noProof="0" dirty="0">
                  <a:ln>
                    <a:noFill/>
                  </a:ln>
                  <a:solidFill>
                    <a:srgbClr val="303030"/>
                  </a:solidFill>
                  <a:effectLst/>
                  <a:uLnTx/>
                  <a:uFillTx/>
                </a:rPr>
                <a:t>Knowledge Center</a:t>
              </a:r>
            </a:p>
          </p:txBody>
        </p:sp>
        <p:pic>
          <p:nvPicPr>
            <p:cNvPr id="36" name="Picture 35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9481145" y="3548786"/>
              <a:ext cx="1875370" cy="2332857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1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816064" y="3916873"/>
              <a:ext cx="1934213" cy="2502356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sp>
        <p:nvSpPr>
          <p:cNvPr id="3" name="TextBox 2"/>
          <p:cNvSpPr txBox="1"/>
          <p:nvPr/>
        </p:nvSpPr>
        <p:spPr>
          <a:xfrm>
            <a:off x="3257723" y="6581001"/>
            <a:ext cx="56765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kern="0" dirty="0">
                <a:solidFill>
                  <a:srgbClr val="303030"/>
                </a:solidFill>
                <a:latin typeface="Calibri"/>
              </a:rPr>
              <a:t>POCs: Debi Tomek (</a:t>
            </a:r>
            <a:r>
              <a:rPr lang="en-US" sz="1200" kern="0" dirty="0">
                <a:solidFill>
                  <a:srgbClr val="303030"/>
                </a:solidFill>
                <a:latin typeface="Calibri"/>
                <a:hlinkClick r:id="rId17"/>
              </a:rPr>
              <a:t>deborah.m.tomek@nasa.gov</a:t>
            </a:r>
            <a:r>
              <a:rPr lang="en-US" sz="1200" kern="0" dirty="0">
                <a:solidFill>
                  <a:srgbClr val="303030"/>
                </a:solidFill>
                <a:latin typeface="Calibri"/>
              </a:rPr>
              <a:t>) and Byron Knight (</a:t>
            </a:r>
            <a:r>
              <a:rPr lang="en-US" sz="1200" kern="0" dirty="0">
                <a:solidFill>
                  <a:srgbClr val="303030"/>
                </a:solidFill>
                <a:latin typeface="Calibri"/>
                <a:hlinkClick r:id="rId18"/>
              </a:rPr>
              <a:t>knightby@nro.mil</a:t>
            </a:r>
            <a:r>
              <a:rPr lang="en-US" sz="1200" kern="0" dirty="0">
                <a:solidFill>
                  <a:srgbClr val="303030"/>
                </a:solidFill>
                <a:latin typeface="Calibri"/>
              </a:rPr>
              <a:t>) 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303F7A06-F2AC-443F-84CF-0F00E0E8C0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A45933-0F97-4B24-BC4B-C5BF835C6785}" type="slidenum">
              <a:rPr lang="en-US" smtClean="0"/>
              <a:t>6</a:t>
            </a:fld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DCE78B0-DF31-4014-81F1-CB55599E98AC}"/>
              </a:ext>
            </a:extLst>
          </p:cNvPr>
          <p:cNvSpPr txBox="1"/>
          <p:nvPr/>
        </p:nvSpPr>
        <p:spPr>
          <a:xfrm>
            <a:off x="6203686" y="6087602"/>
            <a:ext cx="17988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Credit: NASA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01F0F47-D8C3-4FDB-8547-FBD264786F7A}"/>
              </a:ext>
            </a:extLst>
          </p:cNvPr>
          <p:cNvSpPr txBox="1"/>
          <p:nvPr/>
        </p:nvSpPr>
        <p:spPr>
          <a:xfrm>
            <a:off x="3239911" y="6087602"/>
            <a:ext cx="17988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Credit: NASA</a:t>
            </a:r>
          </a:p>
        </p:txBody>
      </p:sp>
    </p:spTree>
    <p:extLst>
      <p:ext uri="{BB962C8B-B14F-4D97-AF65-F5344CB8AC3E}">
        <p14:creationId xmlns:p14="http://schemas.microsoft.com/office/powerpoint/2010/main" val="39825522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4F0F1258-73E9-4A4B-9DEF-A5EC3585715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l="6436" r="6436" b="-1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54C5B26-1A1E-45F6-BE36-AB99C9407D1B}"/>
              </a:ext>
            </a:extLst>
          </p:cNvPr>
          <p:cNvSpPr txBox="1"/>
          <p:nvPr/>
        </p:nvSpPr>
        <p:spPr>
          <a:xfrm>
            <a:off x="178125" y="154336"/>
            <a:ext cx="78021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SAM Enables Persistence in Spac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5C6CD9E-CE33-4DB0-8FD8-64D46E9E0B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A45933-0F97-4B24-BC4B-C5BF835C6785}" type="slidenum">
              <a:rPr lang="en-US" smtClean="0"/>
              <a:t>7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95C470C-D956-42FF-8603-9CEF7B96F881}"/>
              </a:ext>
            </a:extLst>
          </p:cNvPr>
          <p:cNvSpPr txBox="1"/>
          <p:nvPr/>
        </p:nvSpPr>
        <p:spPr>
          <a:xfrm>
            <a:off x="0" y="6538912"/>
            <a:ext cx="17988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Credit: NASA</a:t>
            </a:r>
          </a:p>
        </p:txBody>
      </p:sp>
    </p:spTree>
    <p:extLst>
      <p:ext uri="{BB962C8B-B14F-4D97-AF65-F5344CB8AC3E}">
        <p14:creationId xmlns:p14="http://schemas.microsoft.com/office/powerpoint/2010/main" val="32104637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4242BAEE-24B2-4785-A416-B3167769B27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l="23186" t="7068"/>
          <a:stretch/>
        </p:blipFill>
        <p:spPr>
          <a:xfrm>
            <a:off x="1524" y="0"/>
            <a:ext cx="12190476" cy="685799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B8CD515-4D28-4376-B7B8-756CB8BD694F}"/>
              </a:ext>
            </a:extLst>
          </p:cNvPr>
          <p:cNvSpPr txBox="1"/>
          <p:nvPr/>
        </p:nvSpPr>
        <p:spPr>
          <a:xfrm>
            <a:off x="178125" y="154336"/>
            <a:ext cx="690445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SAM Enables New Discoveri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78A4DA8-82D9-484D-AFC1-D2333B2A45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A45933-0F97-4B24-BC4B-C5BF835C6785}" type="slidenum">
              <a:rPr lang="en-US" smtClean="0"/>
              <a:t>8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E5FE113-CDDA-4DDC-9CCE-7FE8B6F9B283}"/>
              </a:ext>
            </a:extLst>
          </p:cNvPr>
          <p:cNvSpPr txBox="1"/>
          <p:nvPr/>
        </p:nvSpPr>
        <p:spPr>
          <a:xfrm>
            <a:off x="0" y="6538912"/>
            <a:ext cx="17988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Credit: NASA</a:t>
            </a:r>
          </a:p>
        </p:txBody>
      </p:sp>
    </p:spTree>
    <p:extLst>
      <p:ext uri="{BB962C8B-B14F-4D97-AF65-F5344CB8AC3E}">
        <p14:creationId xmlns:p14="http://schemas.microsoft.com/office/powerpoint/2010/main" val="1930712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0" y="0"/>
            <a:ext cx="12192000" cy="687468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14A36F0-6793-4D0C-BF01-9AE57B64D9E2}"/>
              </a:ext>
            </a:extLst>
          </p:cNvPr>
          <p:cNvSpPr txBox="1"/>
          <p:nvPr/>
        </p:nvSpPr>
        <p:spPr>
          <a:xfrm>
            <a:off x="178125" y="154336"/>
            <a:ext cx="121623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OSAM is the Foundation for Sustainable Lunar Explo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2CC3CF-795F-4A5D-978D-FDCD057057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2A338-ABA5-4225-B0AB-D15EBC6BDDFF}" type="slidenum">
              <a:rPr lang="en-US" smtClean="0"/>
              <a:t>9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5978438-197A-4E93-A11F-E9D49E761962}"/>
              </a:ext>
            </a:extLst>
          </p:cNvPr>
          <p:cNvSpPr txBox="1"/>
          <p:nvPr/>
        </p:nvSpPr>
        <p:spPr>
          <a:xfrm>
            <a:off x="0" y="6538912"/>
            <a:ext cx="17988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mage Credit: NASA</a:t>
            </a:r>
          </a:p>
        </p:txBody>
      </p:sp>
    </p:spTree>
    <p:extLst>
      <p:ext uri="{BB962C8B-B14F-4D97-AF65-F5344CB8AC3E}">
        <p14:creationId xmlns:p14="http://schemas.microsoft.com/office/powerpoint/2010/main" val="1239415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8t29jlTPSFzO7.Rti1yA"/>
</p:tagLst>
</file>

<file path=ppt/theme/theme1.xml><?xml version="1.0" encoding="utf-8"?>
<a:theme xmlns:a="http://schemas.openxmlformats.org/drawingml/2006/main" name="basic_nasa_templa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2276825D-A47A-4DE4-99C8-CB3EB1EB7B01}" vid="{1804C293-E35D-4C40-AB84-262FDED4526E}"/>
    </a:ext>
  </a:extLst>
</a:theme>
</file>

<file path=ppt/theme/theme2.xml><?xml version="1.0" encoding="utf-8"?>
<a:theme xmlns:a="http://schemas.openxmlformats.org/drawingml/2006/main" name="72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2D71F3C3AD162418168A3D1EEC31C68" ma:contentTypeVersion="13" ma:contentTypeDescription="Create a new document." ma:contentTypeScope="" ma:versionID="4dcb171e374ebc0d9a8605e3e15f40b0">
  <xsd:schema xmlns:xsd="http://www.w3.org/2001/XMLSchema" xmlns:xs="http://www.w3.org/2001/XMLSchema" xmlns:p="http://schemas.microsoft.com/office/2006/metadata/properties" xmlns:ns1="http://schemas.microsoft.com/sharepoint/v3" xmlns:ns3="3cb15ddf-dbe9-47ea-851d-c70642058130" xmlns:ns4="4817ca35-7031-43a6-bda2-0d9832ef6347" targetNamespace="http://schemas.microsoft.com/office/2006/metadata/properties" ma:root="true" ma:fieldsID="7abe8214cfb68d4298554b0cf8045a9b" ns1:_="" ns3:_="" ns4:_="">
    <xsd:import namespace="http://schemas.microsoft.com/sharepoint/v3"/>
    <xsd:import namespace="3cb15ddf-dbe9-47ea-851d-c70642058130"/>
    <xsd:import namespace="4817ca35-7031-43a6-bda2-0d9832ef634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1:_ip_UnifiedCompliancePolicyProperties" minOccurs="0"/>
                <xsd:element ref="ns1:_ip_UnifiedCompliancePolicyUIActio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3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4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b15ddf-dbe9-47ea-851d-c7064205813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17ca35-7031-43a6-bda2-0d9832ef634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7F046DB-1254-4EFE-8F2A-8A8B117325B1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C249A6BB-CC0F-41B9-9BF6-6160C46253E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559D911-DF76-42C8-AD5D-D52FA3370BA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cb15ddf-dbe9-47ea-851d-c70642058130"/>
    <ds:schemaRef ds:uri="4817ca35-7031-43a6-bda2-0d9832ef634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38</TotalTime>
  <Words>1250</Words>
  <Application>Microsoft Office PowerPoint</Application>
  <PresentationFormat>Widescreen</PresentationFormat>
  <Paragraphs>236</Paragraphs>
  <Slides>16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5" baseType="lpstr">
      <vt:lpstr>Arial</vt:lpstr>
      <vt:lpstr>Calibri</vt:lpstr>
      <vt:lpstr>Calibri Light</vt:lpstr>
      <vt:lpstr>Helvetica</vt:lpstr>
      <vt:lpstr>Helvetica Neue</vt:lpstr>
      <vt:lpstr>Raleway</vt:lpstr>
      <vt:lpstr>basic_nasa_template</vt:lpstr>
      <vt:lpstr>72_Office Theme</vt:lpstr>
      <vt:lpstr>think-cell Slide</vt:lpstr>
      <vt:lpstr>On-orbit Servicing, Assembly, and Manufacturing (OSAM) Overview</vt:lpstr>
      <vt:lpstr>On-orbit Servicing, Assembly, and Manufacturing</vt:lpstr>
      <vt:lpstr>NASA’s Rich Legacy of OSAM Missions</vt:lpstr>
      <vt:lpstr>OSAM Stakeholders</vt:lpstr>
      <vt:lpstr>OSAM across the Government</vt:lpstr>
      <vt:lpstr>OSAM National Initiative</vt:lpstr>
      <vt:lpstr>PowerPoint Presentation</vt:lpstr>
      <vt:lpstr>PowerPoint Presentation</vt:lpstr>
      <vt:lpstr>PowerPoint Presentation</vt:lpstr>
      <vt:lpstr>Crosscutting Uses of OSAM</vt:lpstr>
      <vt:lpstr>OSAM National Initiative Capability Areas (2021)</vt:lpstr>
      <vt:lpstr>Cooperative On-orbit Servicing</vt:lpstr>
      <vt:lpstr>Structural Assembly</vt:lpstr>
      <vt:lpstr>In-Space Manufacturing</vt:lpstr>
      <vt:lpstr>Surface Construction and Operations</vt:lpstr>
      <vt:lpstr>A Future Built Around OSA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AM Overview</dc:title>
  <dc:creator>Arney, Dale C. (LARC-E402)</dc:creator>
  <cp:lastModifiedBy>Arney, Dale C. (LARC-E402)</cp:lastModifiedBy>
  <cp:revision>2</cp:revision>
  <dcterms:created xsi:type="dcterms:W3CDTF">2021-03-11T15:35:10Z</dcterms:created>
  <dcterms:modified xsi:type="dcterms:W3CDTF">2021-07-12T12:24:04Z</dcterms:modified>
</cp:coreProperties>
</file>